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9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tags/tag109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embedTrueTypeFonts="1" saveSubsetFonts="1" autoCompressPictures="0">
  <p:sldMasterIdLst>
    <p:sldMasterId id="2147483662" r:id="rId1"/>
    <p:sldMasterId id="2147483678" r:id="rId2"/>
    <p:sldMasterId id="2147483743" r:id="rId3"/>
    <p:sldMasterId id="2147483839" r:id="rId4"/>
    <p:sldMasterId id="2147483847" r:id="rId5"/>
    <p:sldMasterId id="2147483853" r:id="rId6"/>
    <p:sldMasterId id="2147483865" r:id="rId7"/>
    <p:sldMasterId id="2147483878" r:id="rId8"/>
    <p:sldMasterId id="2147483893" r:id="rId9"/>
    <p:sldMasterId id="2147483906" r:id="rId10"/>
  </p:sldMasterIdLst>
  <p:notesMasterIdLst>
    <p:notesMasterId r:id="rId33"/>
  </p:notesMasterIdLst>
  <p:handoutMasterIdLst>
    <p:handoutMasterId r:id="rId34"/>
  </p:handoutMasterIdLst>
  <p:sldIdLst>
    <p:sldId id="2145707598" r:id="rId11"/>
    <p:sldId id="2145707702" r:id="rId12"/>
    <p:sldId id="2145707711" r:id="rId13"/>
    <p:sldId id="2145707701" r:id="rId14"/>
    <p:sldId id="2145707704" r:id="rId15"/>
    <p:sldId id="2145707706" r:id="rId16"/>
    <p:sldId id="2145707710" r:id="rId17"/>
    <p:sldId id="2145707709" r:id="rId18"/>
    <p:sldId id="2145707578" r:id="rId19"/>
    <p:sldId id="2145707712" r:id="rId20"/>
    <p:sldId id="2145707713" r:id="rId21"/>
    <p:sldId id="2145707714" r:id="rId22"/>
    <p:sldId id="2145707715" r:id="rId23"/>
    <p:sldId id="2145707716" r:id="rId24"/>
    <p:sldId id="2145707717" r:id="rId25"/>
    <p:sldId id="2145707718" r:id="rId26"/>
    <p:sldId id="2145707719" r:id="rId27"/>
    <p:sldId id="2145707703" r:id="rId28"/>
    <p:sldId id="2145707720" r:id="rId29"/>
    <p:sldId id="2145707721" r:id="rId30"/>
    <p:sldId id="2145707722" r:id="rId31"/>
    <p:sldId id="2145707723" r:id="rId32"/>
  </p:sldIdLst>
  <p:sldSz cx="9144000" cy="5143500" type="screen16x9"/>
  <p:notesSz cx="6813550" cy="9945688"/>
  <p:embeddedFontLst>
    <p:embeddedFont>
      <p:font typeface="ＭＳ Ｐゴシック" panose="020B0600070205080204" pitchFamily="34" charset="-128"/>
      <p:regular r:id="rId35"/>
    </p:embeddedFont>
    <p:embeddedFont>
      <p:font typeface="Calibri" panose="020F0502020204030204" pitchFamily="34" charset="0"/>
      <p:regular r:id="rId36"/>
      <p:bold r:id="rId37"/>
      <p:italic r:id="rId38"/>
      <p:boldItalic r:id="rId39"/>
    </p:embeddedFont>
    <p:embeddedFont>
      <p:font typeface="Segoe UI" panose="020B0502040204020203" pitchFamily="34" charset="0"/>
      <p:regular r:id="rId40"/>
      <p:bold r:id="rId41"/>
      <p:italic r:id="rId42"/>
      <p:boldItalic r:id="rId43"/>
    </p:embeddedFont>
    <p:embeddedFont>
      <p:font typeface="Tahoma" panose="020B0604030504040204" pitchFamily="34" charset="0"/>
      <p:regular r:id="rId44"/>
      <p:bold r:id="rId45"/>
    </p:embeddedFont>
    <p:embeddedFont>
      <p:font typeface="Segoe UI Light" panose="020B0502040204020203" pitchFamily="34" charset="0"/>
      <p:regular r:id="rId46"/>
      <p:italic r:id="rId47"/>
    </p:embeddedFont>
    <p:embeddedFont>
      <p:font typeface="Calibri Light" panose="020F0302020204030204" pitchFamily="34" charset="0"/>
      <p:regular r:id="rId48"/>
      <p:italic r:id="rId49"/>
    </p:embeddedFont>
    <p:embeddedFont>
      <p:font typeface="Verdana" panose="020B0604030504040204" pitchFamily="34" charset="0"/>
      <p:regular r:id="rId50"/>
      <p:bold r:id="rId51"/>
      <p:italic r:id="rId52"/>
      <p:boldItalic r:id="rId53"/>
    </p:embeddedFont>
    <p:embeddedFont>
      <p:font typeface="Segoe UI Black" panose="020B0A02040204020203" pitchFamily="34" charset="0"/>
      <p:bold r:id="rId54"/>
      <p:boldItalic r:id="rId5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597">
          <p15:clr>
            <a:srgbClr val="A4A3A4"/>
          </p15:clr>
        </p15:guide>
        <p15:guide id="2" pos="29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A21"/>
    <a:srgbClr val="FFF2CC"/>
    <a:srgbClr val="0070C0"/>
    <a:srgbClr val="00FFFF"/>
    <a:srgbClr val="0066CC"/>
    <a:srgbClr val="E7F0F9"/>
    <a:srgbClr val="6699FF"/>
    <a:srgbClr val="C9F0FF"/>
    <a:srgbClr val="FBDD76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210" autoAdjust="0"/>
    <p:restoredTop sz="96374" autoAdjust="0"/>
  </p:normalViewPr>
  <p:slideViewPr>
    <p:cSldViewPr snapToGrid="0">
      <p:cViewPr varScale="1">
        <p:scale>
          <a:sx n="148" d="100"/>
          <a:sy n="148" d="100"/>
        </p:scale>
        <p:origin x="936" y="186"/>
      </p:cViewPr>
      <p:guideLst>
        <p:guide orient="horz" pos="1597"/>
        <p:guide pos="29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3235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font" Target="fonts/font5.fntdata"/><Relationship Id="rId21" Type="http://schemas.openxmlformats.org/officeDocument/2006/relationships/slide" Target="slides/slide11.xml"/><Relationship Id="rId34" Type="http://schemas.openxmlformats.org/officeDocument/2006/relationships/handoutMaster" Target="handoutMasters/handoutMaster1.xml"/><Relationship Id="rId42" Type="http://schemas.openxmlformats.org/officeDocument/2006/relationships/font" Target="fonts/font8.fntdata"/><Relationship Id="rId47" Type="http://schemas.openxmlformats.org/officeDocument/2006/relationships/font" Target="fonts/font13.fntdata"/><Relationship Id="rId50" Type="http://schemas.openxmlformats.org/officeDocument/2006/relationships/font" Target="fonts/font16.fntdata"/><Relationship Id="rId55" Type="http://schemas.openxmlformats.org/officeDocument/2006/relationships/font" Target="fonts/font21.fntdata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3" Type="http://schemas.openxmlformats.org/officeDocument/2006/relationships/font" Target="fonts/font19.fntdata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font" Target="fonts/font14.fntdata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font" Target="fonts/font17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59" Type="http://schemas.openxmlformats.org/officeDocument/2006/relationships/tableStyles" Target="tableStyles.xml"/><Relationship Id="rId20" Type="http://schemas.openxmlformats.org/officeDocument/2006/relationships/slide" Target="slides/slide10.xml"/><Relationship Id="rId41" Type="http://schemas.openxmlformats.org/officeDocument/2006/relationships/font" Target="fonts/font7.fntdata"/><Relationship Id="rId54" Type="http://schemas.openxmlformats.org/officeDocument/2006/relationships/font" Target="fonts/font20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font" Target="fonts/font2.fntdata"/><Relationship Id="rId49" Type="http://schemas.openxmlformats.org/officeDocument/2006/relationships/font" Target="fonts/font15.fntdata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1.xml"/><Relationship Id="rId44" Type="http://schemas.openxmlformats.org/officeDocument/2006/relationships/font" Target="fonts/font10.fntdata"/><Relationship Id="rId52" Type="http://schemas.openxmlformats.org/officeDocument/2006/relationships/font" Target="fonts/font18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2481543415058788E-2"/>
          <c:y val="7.691515713100408E-2"/>
          <c:w val="0.98607618020414711"/>
          <c:h val="0.718703441830437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D$5:$D$6</c:f>
              <c:strCache>
                <c:ptCount val="2"/>
                <c:pt idx="0">
                  <c:v>Действующий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7:$C$11</c:f>
              <c:strCache>
                <c:ptCount val="5"/>
                <c:pt idx="0">
                  <c:v>Объем, стр.</c:v>
                </c:pt>
                <c:pt idx="1">
                  <c:v>Разделы</c:v>
                </c:pt>
                <c:pt idx="2">
                  <c:v>Главы</c:v>
                </c:pt>
                <c:pt idx="3">
                  <c:v>Статьи</c:v>
                </c:pt>
                <c:pt idx="4">
                  <c:v>Отсылочные нормы</c:v>
                </c:pt>
              </c:strCache>
            </c:strRef>
          </c:cat>
          <c:val>
            <c:numRef>
              <c:f>Лист1!$D$7:$D$11</c:f>
              <c:numCache>
                <c:formatCode>#,##0</c:formatCode>
                <c:ptCount val="5"/>
                <c:pt idx="0">
                  <c:v>323</c:v>
                </c:pt>
                <c:pt idx="1">
                  <c:v>13</c:v>
                </c:pt>
                <c:pt idx="2">
                  <c:v>49</c:v>
                </c:pt>
                <c:pt idx="3">
                  <c:v>245</c:v>
                </c:pt>
                <c:pt idx="4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4C-41F5-8A33-21C58BB1EF7F}"/>
            </c:ext>
          </c:extLst>
        </c:ser>
        <c:ser>
          <c:idx val="1"/>
          <c:order val="1"/>
          <c:tx>
            <c:strRef>
              <c:f>Лист1!$E$5:$E$6</c:f>
              <c:strCache>
                <c:ptCount val="2"/>
                <c:pt idx="0">
                  <c:v>Новый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7:$C$11</c:f>
              <c:strCache>
                <c:ptCount val="5"/>
                <c:pt idx="0">
                  <c:v>Объем, стр.</c:v>
                </c:pt>
                <c:pt idx="1">
                  <c:v>Разделы</c:v>
                </c:pt>
                <c:pt idx="2">
                  <c:v>Главы</c:v>
                </c:pt>
                <c:pt idx="3">
                  <c:v>Статьи</c:v>
                </c:pt>
                <c:pt idx="4">
                  <c:v>Отсылочные нормы</c:v>
                </c:pt>
              </c:strCache>
            </c:strRef>
          </c:cat>
          <c:val>
            <c:numRef>
              <c:f>Лист1!$E$7:$E$11</c:f>
              <c:numCache>
                <c:formatCode>#,##0</c:formatCode>
                <c:ptCount val="5"/>
                <c:pt idx="0">
                  <c:v>203</c:v>
                </c:pt>
                <c:pt idx="1">
                  <c:v>9</c:v>
                </c:pt>
                <c:pt idx="2">
                  <c:v>31</c:v>
                </c:pt>
                <c:pt idx="3">
                  <c:v>167</c:v>
                </c:pt>
                <c:pt idx="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4C-41F5-8A33-21C58BB1EF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9564544"/>
        <c:axId val="119595008"/>
      </c:barChart>
      <c:catAx>
        <c:axId val="11956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19595008"/>
        <c:crosses val="autoZero"/>
        <c:auto val="1"/>
        <c:lblAlgn val="ctr"/>
        <c:lblOffset val="100"/>
        <c:noMultiLvlLbl val="0"/>
      </c:catAx>
      <c:valAx>
        <c:axId val="11959500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119564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9522885491964286"/>
          <c:y val="6.1274395389338742E-3"/>
          <c:w val="0.46420757217472652"/>
          <c:h val="0.153142180009695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97</cdr:x>
      <cdr:y>0.07798</cdr:y>
    </cdr:from>
    <cdr:to>
      <cdr:x>0.20407</cdr:x>
      <cdr:y>0.44124</cdr:y>
    </cdr:to>
    <cdr:sp macro="" textlink="">
      <cdr:nvSpPr>
        <cdr:cNvPr id="2" name="Правая фигурная скобка 1"/>
        <cdr:cNvSpPr/>
      </cdr:nvSpPr>
      <cdr:spPr>
        <a:xfrm xmlns:a="http://schemas.openxmlformats.org/drawingml/2006/main">
          <a:off x="628960" y="132919"/>
          <a:ext cx="174736" cy="619241"/>
        </a:xfrm>
        <a:prstGeom xmlns:a="http://schemas.openxmlformats.org/drawingml/2006/main" prst="rightBrace">
          <a:avLst/>
        </a:prstGeom>
        <a:ln xmlns:a="http://schemas.openxmlformats.org/drawingml/2006/main" w="9525">
          <a:solidFill>
            <a:schemeClr val="accent1"/>
          </a:solidFill>
          <a:tailEnd type="non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rtlCol="0" anchor="t" anchorCtr="0"/>
        <a:lstStyle xmlns:a="http://schemas.openxmlformats.org/drawingml/2006/main"/>
        <a:p xmlns:a="http://schemas.openxmlformats.org/drawingml/2006/main">
          <a:endParaRPr lang="ru-RU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AA94D830-0E40-476C-81D4-2BD06ECDF96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2"/>
            <a:ext cx="2953281" cy="499352"/>
          </a:xfrm>
          <a:prstGeom prst="rect">
            <a:avLst/>
          </a:prstGeom>
        </p:spPr>
        <p:txBody>
          <a:bodyPr vert="horz" lIns="91596" tIns="45797" rIns="91596" bIns="45797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1C86C0E-9DE5-4E55-8BA6-BB1C69A11E5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8679" y="2"/>
            <a:ext cx="2953281" cy="499352"/>
          </a:xfrm>
          <a:prstGeom prst="rect">
            <a:avLst/>
          </a:prstGeom>
        </p:spPr>
        <p:txBody>
          <a:bodyPr vert="horz" lIns="91596" tIns="45797" rIns="91596" bIns="45797" rtlCol="0"/>
          <a:lstStyle>
            <a:lvl1pPr algn="r">
              <a:defRPr sz="1200"/>
            </a:lvl1pPr>
          </a:lstStyle>
          <a:p>
            <a:fld id="{BFCA6556-73B0-49A2-A4AF-242E60F404F4}" type="datetimeFigureOut">
              <a:rPr lang="x-none" smtClean="0"/>
              <a:pPr/>
              <a:t>26.04.2023</a:t>
            </a:fld>
            <a:endParaRPr lang="x-none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A40C98D-C29C-4CB2-AEA8-A9C56B8218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46337"/>
            <a:ext cx="2953281" cy="499352"/>
          </a:xfrm>
          <a:prstGeom prst="rect">
            <a:avLst/>
          </a:prstGeom>
        </p:spPr>
        <p:txBody>
          <a:bodyPr vert="horz" lIns="91596" tIns="45797" rIns="91596" bIns="45797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0C4BE0A-F2E7-4155-A547-912E402EBE6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8679" y="9446337"/>
            <a:ext cx="2953281" cy="499352"/>
          </a:xfrm>
          <a:prstGeom prst="rect">
            <a:avLst/>
          </a:prstGeom>
        </p:spPr>
        <p:txBody>
          <a:bodyPr vert="horz" lIns="91596" tIns="45797" rIns="91596" bIns="45797" rtlCol="0" anchor="b"/>
          <a:lstStyle>
            <a:lvl1pPr algn="r">
              <a:defRPr sz="1200"/>
            </a:lvl1pPr>
          </a:lstStyle>
          <a:p>
            <a:fld id="{8AD79434-6D7B-4CAE-A660-64BB76BE816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2450940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2-15T12:18:5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2-15T12:18:54.99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03T10:23:51.42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2" y="2"/>
            <a:ext cx="2953227" cy="498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855" tIns="45928" rIns="91855" bIns="45928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58754" y="2"/>
            <a:ext cx="2953226" cy="498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855" tIns="45928" rIns="91855" bIns="45928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25450" y="1243013"/>
            <a:ext cx="5962650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1515" y="4785441"/>
            <a:ext cx="5450521" cy="39182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855" tIns="45928" rIns="91855" bIns="45928" anchor="t" anchorCtr="0">
            <a:noAutofit/>
          </a:bodyPr>
          <a:lstStyle>
            <a:lvl1pPr marL="457200" marR="0" lvl="0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2" y="9446983"/>
            <a:ext cx="2953227" cy="498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855" tIns="45928" rIns="91855" bIns="45928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58754" y="9446983"/>
            <a:ext cx="2953226" cy="498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855" tIns="45928" rIns="91855" bIns="45928" anchor="b" anchorCtr="0">
            <a:noAutofit/>
          </a:bodyPr>
          <a:lstStyle/>
          <a:p>
            <a:pPr algn="r"/>
            <a:fld id="{00000000-1234-1234-1234-123412341234}" type="slidenum">
              <a:rPr lang="ru-RU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‹#›</a:t>
            </a:fld>
            <a:endParaRPr lang="ru-RU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5523994"/>
      </p:ext>
    </p:extLst>
  </p:cSld>
  <p:clrMap bg1="lt1" tx1="dk1" bg2="dk2" tx2="lt2" accent1="accent1" accent2="accent2" accent3="accent3" accent4="accent4" accent5="accent5" accent6="accent6" hlink="hlink" folHlink="folHlink"/>
  <p:hf hdr="0" ft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7950" y="741363"/>
            <a:ext cx="6591300" cy="3708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004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0A163C-0D8C-415F-AC4C-A186C69AF32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12004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9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дходы по проекту Бюджетного кодекса в новой редакци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128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g114a1b24a14_10_0:notes"/>
          <p:cNvSpPr txBox="1">
            <a:spLocks noGrp="1"/>
          </p:cNvSpPr>
          <p:nvPr>
            <p:ph type="body" idx="1"/>
          </p:nvPr>
        </p:nvSpPr>
        <p:spPr>
          <a:xfrm>
            <a:off x="652121" y="4642178"/>
            <a:ext cx="5215428" cy="3800981"/>
          </a:xfrm>
          <a:prstGeom prst="rect">
            <a:avLst/>
          </a:prstGeom>
        </p:spPr>
        <p:txBody>
          <a:bodyPr spcFirstLastPara="1" wrap="square" lIns="88612" tIns="44306" rIns="88612" bIns="44306" anchor="t" anchorCtr="0">
            <a:noAutofit/>
          </a:bodyPr>
          <a:lstStyle/>
          <a:p>
            <a:pPr marL="0" indent="0">
              <a:spcBef>
                <a:spcPts val="260"/>
              </a:spcBef>
              <a:buClr>
                <a:schemeClr val="dk1"/>
              </a:buClr>
              <a:buSzPts val="1100"/>
            </a:pPr>
            <a:endParaRPr b="1" dirty="0"/>
          </a:p>
        </p:txBody>
      </p:sp>
      <p:sp>
        <p:nvSpPr>
          <p:cNvPr id="276" name="Google Shape;276;g114a1b24a14_1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68300" y="1206500"/>
            <a:ext cx="5783263" cy="32527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39617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7.vml"/><Relationship Id="rId6" Type="http://schemas.openxmlformats.org/officeDocument/2006/relationships/image" Target="NUL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677" indent="0" algn="ctr">
              <a:buNone/>
              <a:defRPr sz="1500"/>
            </a:lvl2pPr>
            <a:lvl3pPr marL="685375" indent="0" algn="ctr">
              <a:buNone/>
              <a:defRPr sz="1400"/>
            </a:lvl3pPr>
            <a:lvl4pPr marL="1028063" indent="0" algn="ctr">
              <a:buNone/>
              <a:defRPr sz="1200"/>
            </a:lvl4pPr>
            <a:lvl5pPr marL="1370750" indent="0" algn="ctr">
              <a:buNone/>
              <a:defRPr sz="1200"/>
            </a:lvl5pPr>
            <a:lvl6pPr marL="1713449" indent="0" algn="ctr">
              <a:buNone/>
              <a:defRPr sz="1200"/>
            </a:lvl6pPr>
            <a:lvl7pPr marL="2056124" indent="0" algn="ctr">
              <a:buNone/>
              <a:defRPr sz="1200"/>
            </a:lvl7pPr>
            <a:lvl8pPr marL="2398800" indent="0" algn="ctr">
              <a:buNone/>
              <a:defRPr sz="1200"/>
            </a:lvl8pPr>
            <a:lvl9pPr marL="2741477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3980"/>
            <a:ext cx="128642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376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66787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04" indent="0">
              <a:buNone/>
              <a:defRPr sz="1100"/>
            </a:lvl2pPr>
            <a:lvl3pPr marL="685426" indent="0">
              <a:buNone/>
              <a:defRPr sz="900"/>
            </a:lvl3pPr>
            <a:lvl4pPr marL="1028139" indent="0">
              <a:buNone/>
              <a:defRPr sz="800"/>
            </a:lvl4pPr>
            <a:lvl5pPr marL="1370852" indent="0">
              <a:buNone/>
              <a:defRPr sz="800"/>
            </a:lvl5pPr>
            <a:lvl6pPr marL="1713575" indent="0">
              <a:buNone/>
              <a:defRPr sz="800"/>
            </a:lvl6pPr>
            <a:lvl7pPr marL="2056277" indent="0">
              <a:buNone/>
              <a:defRPr sz="800"/>
            </a:lvl7pPr>
            <a:lvl8pPr marL="2398980" indent="0">
              <a:buNone/>
              <a:defRPr sz="800"/>
            </a:lvl8pPr>
            <a:lvl9pPr marL="2741684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12116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704" indent="0">
              <a:buNone/>
              <a:defRPr sz="2100"/>
            </a:lvl2pPr>
            <a:lvl3pPr marL="685426" indent="0">
              <a:buNone/>
              <a:defRPr sz="1800"/>
            </a:lvl3pPr>
            <a:lvl4pPr marL="1028139" indent="0">
              <a:buNone/>
              <a:defRPr sz="1500"/>
            </a:lvl4pPr>
            <a:lvl5pPr marL="1370852" indent="0">
              <a:buNone/>
              <a:defRPr sz="1500"/>
            </a:lvl5pPr>
            <a:lvl6pPr marL="1713575" indent="0">
              <a:buNone/>
              <a:defRPr sz="1500"/>
            </a:lvl6pPr>
            <a:lvl7pPr marL="2056277" indent="0">
              <a:buNone/>
              <a:defRPr sz="1500"/>
            </a:lvl7pPr>
            <a:lvl8pPr marL="2398980" indent="0">
              <a:buNone/>
              <a:defRPr sz="1500"/>
            </a:lvl8pPr>
            <a:lvl9pPr marL="2741684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04" indent="0">
              <a:buNone/>
              <a:defRPr sz="1100"/>
            </a:lvl2pPr>
            <a:lvl3pPr marL="685426" indent="0">
              <a:buNone/>
              <a:defRPr sz="900"/>
            </a:lvl3pPr>
            <a:lvl4pPr marL="1028139" indent="0">
              <a:buNone/>
              <a:defRPr sz="800"/>
            </a:lvl4pPr>
            <a:lvl5pPr marL="1370852" indent="0">
              <a:buNone/>
              <a:defRPr sz="800"/>
            </a:lvl5pPr>
            <a:lvl6pPr marL="1713575" indent="0">
              <a:buNone/>
              <a:defRPr sz="800"/>
            </a:lvl6pPr>
            <a:lvl7pPr marL="2056277" indent="0">
              <a:buNone/>
              <a:defRPr sz="800"/>
            </a:lvl7pPr>
            <a:lvl8pPr marL="2398980" indent="0">
              <a:buNone/>
              <a:defRPr sz="800"/>
            </a:lvl8pPr>
            <a:lvl9pPr marL="2741684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2857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816696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5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5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905810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3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9" rIns="68549" bIns="3428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1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6901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8161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5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5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8390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3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5" rIns="91390" bIns="45695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104">
              <a:defRPr/>
            </a:pPr>
            <a:fld id="{6A93956F-647A-44B9-8163-DDB447652883}" type="slidenum">
              <a:rPr lang="ru-RU" altLang="ru-RU" sz="800" smtClean="0">
                <a:solidFill>
                  <a:schemeClr val="tx1"/>
                </a:solidFill>
                <a:latin typeface="Arial" panose="020B0604020202020204" pitchFamily="34" charset="0"/>
              </a:rPr>
              <a:pPr algn="ctr" defTabSz="690104">
                <a:defRPr/>
              </a:pPr>
              <a:t>‹#›</a:t>
            </a:fld>
            <a:endParaRPr lang="ru-RU" altLang="ru-RU" sz="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818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3" y="1597853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5" y="2914659"/>
            <a:ext cx="6400801" cy="131444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9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8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75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6698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5086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8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8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965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9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89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85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4825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978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475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971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884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4" y="900118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2" y="900118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5404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05982"/>
            <a:ext cx="8229599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8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9659" indent="0">
              <a:buNone/>
              <a:defRPr sz="2000" b="1"/>
            </a:lvl2pPr>
            <a:lvl3pPr marL="899297" indent="0">
              <a:buNone/>
              <a:defRPr sz="1800" b="1"/>
            </a:lvl3pPr>
            <a:lvl4pPr marL="1348976" indent="0">
              <a:buNone/>
              <a:defRPr sz="1600" b="1"/>
            </a:lvl4pPr>
            <a:lvl5pPr marL="1798598" indent="0">
              <a:buNone/>
              <a:defRPr sz="1600" b="1"/>
            </a:lvl5pPr>
            <a:lvl6pPr marL="2248257" indent="0">
              <a:buNone/>
              <a:defRPr sz="1600" b="1"/>
            </a:lvl6pPr>
            <a:lvl7pPr marL="2697896" indent="0">
              <a:buNone/>
              <a:defRPr sz="1600" b="1"/>
            </a:lvl7pPr>
            <a:lvl8pPr marL="3147575" indent="0">
              <a:buNone/>
              <a:defRPr sz="1600" b="1"/>
            </a:lvl8pPr>
            <a:lvl9pPr marL="35971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8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0" y="1151338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9659" indent="0">
              <a:buNone/>
              <a:defRPr sz="2000" b="1"/>
            </a:lvl2pPr>
            <a:lvl3pPr marL="899297" indent="0">
              <a:buNone/>
              <a:defRPr sz="1800" b="1"/>
            </a:lvl3pPr>
            <a:lvl4pPr marL="1348976" indent="0">
              <a:buNone/>
              <a:defRPr sz="1600" b="1"/>
            </a:lvl4pPr>
            <a:lvl5pPr marL="1798598" indent="0">
              <a:buNone/>
              <a:defRPr sz="1600" b="1"/>
            </a:lvl5pPr>
            <a:lvl6pPr marL="2248257" indent="0">
              <a:buNone/>
              <a:defRPr sz="1600" b="1"/>
            </a:lvl6pPr>
            <a:lvl7pPr marL="2697896" indent="0">
              <a:buNone/>
              <a:defRPr sz="1600" b="1"/>
            </a:lvl7pPr>
            <a:lvl8pPr marL="3147575" indent="0">
              <a:buNone/>
              <a:defRPr sz="1600" b="1"/>
            </a:lvl8pPr>
            <a:lvl9pPr marL="35971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60" y="1631158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2628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9247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2142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3980"/>
            <a:ext cx="128642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523218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0520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1" y="204790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81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1" y="107634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49659" indent="0">
              <a:buNone/>
              <a:defRPr sz="1200"/>
            </a:lvl2pPr>
            <a:lvl3pPr marL="899297" indent="0">
              <a:buNone/>
              <a:defRPr sz="1000"/>
            </a:lvl3pPr>
            <a:lvl4pPr marL="1348976" indent="0">
              <a:buNone/>
              <a:defRPr sz="900"/>
            </a:lvl4pPr>
            <a:lvl5pPr marL="1798598" indent="0">
              <a:buNone/>
              <a:defRPr sz="900"/>
            </a:lvl5pPr>
            <a:lvl6pPr marL="2248257" indent="0">
              <a:buNone/>
              <a:defRPr sz="900"/>
            </a:lvl6pPr>
            <a:lvl7pPr marL="2697896" indent="0">
              <a:buNone/>
              <a:defRPr sz="900"/>
            </a:lvl7pPr>
            <a:lvl8pPr marL="3147575" indent="0">
              <a:buNone/>
              <a:defRPr sz="900"/>
            </a:lvl8pPr>
            <a:lvl9pPr marL="359719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6889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7" y="3600454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7" y="459580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49659" indent="0">
              <a:buNone/>
              <a:defRPr sz="2800"/>
            </a:lvl2pPr>
            <a:lvl3pPr marL="899297" indent="0">
              <a:buNone/>
              <a:defRPr sz="2400"/>
            </a:lvl3pPr>
            <a:lvl4pPr marL="1348976" indent="0">
              <a:buNone/>
              <a:defRPr sz="2000"/>
            </a:lvl4pPr>
            <a:lvl5pPr marL="1798598" indent="0">
              <a:buNone/>
              <a:defRPr sz="2000"/>
            </a:lvl5pPr>
            <a:lvl6pPr marL="2248257" indent="0">
              <a:buNone/>
              <a:defRPr sz="2000"/>
            </a:lvl6pPr>
            <a:lvl7pPr marL="2697896" indent="0">
              <a:buNone/>
              <a:defRPr sz="2000"/>
            </a:lvl7pPr>
            <a:lvl8pPr marL="3147575" indent="0">
              <a:buNone/>
              <a:defRPr sz="2000"/>
            </a:lvl8pPr>
            <a:lvl9pPr marL="3597196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7" y="402554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49659" indent="0">
              <a:buNone/>
              <a:defRPr sz="1200"/>
            </a:lvl2pPr>
            <a:lvl3pPr marL="899297" indent="0">
              <a:buNone/>
              <a:defRPr sz="1000"/>
            </a:lvl3pPr>
            <a:lvl4pPr marL="1348976" indent="0">
              <a:buNone/>
              <a:defRPr sz="900"/>
            </a:lvl4pPr>
            <a:lvl5pPr marL="1798598" indent="0">
              <a:buNone/>
              <a:defRPr sz="900"/>
            </a:lvl5pPr>
            <a:lvl6pPr marL="2248257" indent="0">
              <a:buNone/>
              <a:defRPr sz="900"/>
            </a:lvl6pPr>
            <a:lvl7pPr marL="2697896" indent="0">
              <a:buNone/>
              <a:defRPr sz="900"/>
            </a:lvl7pPr>
            <a:lvl8pPr marL="3147575" indent="0">
              <a:buNone/>
              <a:defRPr sz="900"/>
            </a:lvl8pPr>
            <a:lvl9pPr marL="359719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1260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6503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2" y="154784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20" y="154784"/>
            <a:ext cx="6019801" cy="32908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0716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5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4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7" tIns="45593" rIns="91187" bIns="45593" anchor="ctr"/>
          <a:lstStyle/>
          <a:p>
            <a:pPr marL="0" marR="0" lvl="0" indent="0" algn="ctr" defTabSz="689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6897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2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655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49796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">
            <a:extLst>
              <a:ext uri="{FF2B5EF4-FFF2-40B4-BE49-F238E27FC236}">
                <a16:creationId xmlns:a16="http://schemas.microsoft.com/office/drawing/2014/main" id="{20D62EEF-71F8-4F55-8521-893C5C7B6645}"/>
              </a:ext>
            </a:extLst>
          </p:cNvPr>
          <p:cNvCxnSpPr>
            <a:cxnSpLocks/>
          </p:cNvCxnSpPr>
          <p:nvPr userDrawn="1"/>
        </p:nvCxnSpPr>
        <p:spPr>
          <a:xfrm>
            <a:off x="502895" y="667569"/>
            <a:ext cx="8133793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7774" y="262686"/>
            <a:ext cx="8131168" cy="31647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04"/>
              </a:spcAft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id="{9D1D5787-3E91-4FEA-AB0C-57078295F086}"/>
              </a:ext>
            </a:extLst>
          </p:cNvPr>
          <p:cNvSpPr/>
          <p:nvPr userDrawn="1"/>
        </p:nvSpPr>
        <p:spPr>
          <a:xfrm>
            <a:off x="8714962" y="4772751"/>
            <a:ext cx="222254" cy="2192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708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09CE21-7FC1-49DC-910A-F2C968E54205}" type="slidenum">
              <a:rPr kumimoji="0" lang="en-US" sz="1400" b="0" i="0" u="none" strike="noStrike" kern="1200" cap="none" spc="-7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7086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-7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3363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7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7"/>
                        <a:ext cx="16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2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76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2964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7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7"/>
                        <a:ext cx="16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2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76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8841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8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8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C6DF62-6965-49F4-959F-4F584E23DE7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rtlCol="0" anchor="ctr"/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39472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7951D4-4221-4520-A8A0-03BAB9FCF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7567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67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0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7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4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1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8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147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307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6052" y="131378"/>
            <a:ext cx="8311896" cy="742134"/>
          </a:xfrm>
        </p:spPr>
        <p:txBody>
          <a:bodyPr rtlCol="0">
            <a:noAutofit/>
          </a:bodyPr>
          <a:lstStyle>
            <a:lvl1pPr>
              <a:defRPr/>
            </a:lvl1pPr>
          </a:lstStyle>
          <a:p>
            <a:pPr rtl="0"/>
            <a:r>
              <a:rPr lang="ru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5367528" y="67005"/>
            <a:ext cx="3360420" cy="92333"/>
          </a:xfrm>
        </p:spPr>
        <p:txBody>
          <a:bodyPr rtlCol="0"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 rtl="0"/>
            <a:r>
              <a:rPr lang="ru"/>
              <a:t>Chapter › Topic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2F3A4B9-FBA1-4408-BD2B-B9889CFC61B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76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95680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C61A7A0-1C93-4AA0-A648-1EB41868A1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86600" y="4868880"/>
            <a:ext cx="2057400" cy="274637"/>
          </a:xfrm>
        </p:spPr>
        <p:txBody>
          <a:bodyPr lIns="91408" tIns="45704" rIns="91408" bIns="45704"/>
          <a:lstStyle/>
          <a:p>
            <a:pPr defTabSz="914018" fontAlgn="base">
              <a:spcBef>
                <a:spcPct val="0"/>
              </a:spcBef>
              <a:spcAft>
                <a:spcPct val="0"/>
              </a:spcAft>
              <a:buClrTx/>
            </a:pPr>
            <a:fld id="{081FDE25-092C-446A-8BDB-6D3153C62E83}" type="slidenum">
              <a:rPr lang="ru-RU" sz="1600" kern="1200" smtClean="0">
                <a:latin typeface="Arial" charset="0"/>
                <a:ea typeface="ＭＳ Ｐゴシック"/>
                <a:cs typeface="+mn-cs"/>
              </a:rPr>
              <a:pPr defTabSz="914018" fontAlgn="base">
                <a:spcBef>
                  <a:spcPct val="0"/>
                </a:spcBef>
                <a:spcAft>
                  <a:spcPct val="0"/>
                </a:spcAft>
                <a:buClrTx/>
              </a:pPr>
              <a:t>‹#›</a:t>
            </a:fld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872923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nl-NL" kern="1200"/>
          </a:p>
        </p:txBody>
      </p:sp>
      <p:sp>
        <p:nvSpPr>
          <p:cNvPr id="5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kern="1200" smtClean="0"/>
              <a:t>Spending Reviews in The Netherlands</a:t>
            </a:r>
            <a:endParaRPr lang="nl-NL" kern="1200"/>
          </a:p>
        </p:txBody>
      </p:sp>
      <p:sp>
        <p:nvSpPr>
          <p:cNvPr id="6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CF5819FB-D2A1-4DB9-A6AC-10E2DBC6AC43}" type="slidenum">
              <a:rPr lang="nl-NL" kern="1200" smtClean="0"/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‹#›</a:t>
            </a:fld>
            <a:endParaRPr lang="nl-NL" kern="1200"/>
          </a:p>
        </p:txBody>
      </p:sp>
    </p:spTree>
    <p:extLst>
      <p:ext uri="{BB962C8B-B14F-4D97-AF65-F5344CB8AC3E}">
        <p14:creationId xmlns:p14="http://schemas.microsoft.com/office/powerpoint/2010/main" val="19128481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en twee tekst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half" idx="1"/>
          </p:nvPr>
        </p:nvSpPr>
        <p:spPr>
          <a:xfrm>
            <a:off x="352425" y="1350169"/>
            <a:ext cx="4038600" cy="3311129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43425" y="1350169"/>
            <a:ext cx="4038600" cy="3311129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5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nl-NL" kern="1200"/>
          </a:p>
        </p:txBody>
      </p:sp>
      <p:sp>
        <p:nvSpPr>
          <p:cNvPr id="6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kern="1200" smtClean="0"/>
              <a:t>Spending Reviews in The Netherlands</a:t>
            </a:r>
            <a:endParaRPr lang="nl-NL" kern="1200"/>
          </a:p>
        </p:txBody>
      </p:sp>
      <p:sp>
        <p:nvSpPr>
          <p:cNvPr id="7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56BF9E1E-8EED-4ABD-982C-7424D8DFE230}" type="slidenum">
              <a:rPr lang="nl-NL" kern="1200" smtClean="0"/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‹#›</a:t>
            </a:fld>
            <a:endParaRPr lang="nl-NL" kern="1200"/>
          </a:p>
        </p:txBody>
      </p:sp>
    </p:spTree>
    <p:extLst>
      <p:ext uri="{BB962C8B-B14F-4D97-AF65-F5344CB8AC3E}">
        <p14:creationId xmlns:p14="http://schemas.microsoft.com/office/powerpoint/2010/main" val="15245111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kst en 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half" idx="1"/>
          </p:nvPr>
        </p:nvSpPr>
        <p:spPr>
          <a:xfrm>
            <a:off x="352425" y="1350169"/>
            <a:ext cx="4038600" cy="3311129"/>
          </a:xfrm>
        </p:spPr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Tijdelijke aanduiding voor grafiek 3"/>
          <p:cNvSpPr>
            <a:spLocks noGrp="1"/>
          </p:cNvSpPr>
          <p:nvPr>
            <p:ph type="chart" sz="half" idx="2"/>
          </p:nvPr>
        </p:nvSpPr>
        <p:spPr>
          <a:xfrm>
            <a:off x="4543425" y="1350169"/>
            <a:ext cx="4038600" cy="3311129"/>
          </a:xfrm>
        </p:spPr>
        <p:txBody>
          <a:bodyPr/>
          <a:lstStyle/>
          <a:p>
            <a:pPr lvl="0"/>
            <a:endParaRPr lang="nl-NL" noProof="0" dirty="0"/>
          </a:p>
        </p:txBody>
      </p:sp>
      <p:sp>
        <p:nvSpPr>
          <p:cNvPr id="5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nl-NL" kern="1200"/>
          </a:p>
        </p:txBody>
      </p:sp>
      <p:sp>
        <p:nvSpPr>
          <p:cNvPr id="6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kern="1200" smtClean="0"/>
              <a:t>Spending Reviews in The Netherlands</a:t>
            </a:r>
            <a:endParaRPr lang="nl-NL" kern="1200"/>
          </a:p>
        </p:txBody>
      </p:sp>
      <p:sp>
        <p:nvSpPr>
          <p:cNvPr id="7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A5DEBAF9-9CE9-4D77-9C3C-CAE79505914F}" type="slidenum">
              <a:rPr lang="nl-NL" kern="1200" smtClean="0"/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‹#›</a:t>
            </a:fld>
            <a:endParaRPr lang="nl-NL" kern="1200"/>
          </a:p>
        </p:txBody>
      </p:sp>
    </p:spTree>
    <p:extLst>
      <p:ext uri="{BB962C8B-B14F-4D97-AF65-F5344CB8AC3E}">
        <p14:creationId xmlns:p14="http://schemas.microsoft.com/office/powerpoint/2010/main" val="15132545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kst en illustra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half" idx="1"/>
          </p:nvPr>
        </p:nvSpPr>
        <p:spPr>
          <a:xfrm>
            <a:off x="352425" y="1350169"/>
            <a:ext cx="4038600" cy="3311129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illustratie 3"/>
          <p:cNvSpPr>
            <a:spLocks noGrp="1"/>
          </p:cNvSpPr>
          <p:nvPr>
            <p:ph type="clipArt" sz="half" idx="2"/>
          </p:nvPr>
        </p:nvSpPr>
        <p:spPr>
          <a:xfrm>
            <a:off x="4543425" y="1350169"/>
            <a:ext cx="4038600" cy="3311129"/>
          </a:xfrm>
        </p:spPr>
        <p:txBody>
          <a:bodyPr/>
          <a:lstStyle/>
          <a:p>
            <a:pPr lvl="0"/>
            <a:endParaRPr lang="nl-NL" noProof="0" dirty="0"/>
          </a:p>
        </p:txBody>
      </p:sp>
      <p:sp>
        <p:nvSpPr>
          <p:cNvPr id="5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nl-NL" kern="1200"/>
          </a:p>
        </p:txBody>
      </p:sp>
      <p:sp>
        <p:nvSpPr>
          <p:cNvPr id="6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kern="1200" smtClean="0"/>
              <a:t>Spending Reviews in The Netherlands</a:t>
            </a:r>
            <a:endParaRPr lang="nl-NL" kern="1200"/>
          </a:p>
        </p:txBody>
      </p:sp>
      <p:sp>
        <p:nvSpPr>
          <p:cNvPr id="7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67FD27C8-FA47-4577-9706-C736BC1E568F}" type="slidenum">
              <a:rPr lang="nl-NL" kern="1200" smtClean="0"/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‹#›</a:t>
            </a:fld>
            <a:endParaRPr lang="nl-NL" kern="1200"/>
          </a:p>
        </p:txBody>
      </p:sp>
    </p:spTree>
    <p:extLst>
      <p:ext uri="{BB962C8B-B14F-4D97-AF65-F5344CB8AC3E}">
        <p14:creationId xmlns:p14="http://schemas.microsoft.com/office/powerpoint/2010/main" val="39819819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kst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half" idx="1"/>
          </p:nvPr>
        </p:nvSpPr>
        <p:spPr>
          <a:xfrm>
            <a:off x="352425" y="1350169"/>
            <a:ext cx="4038600" cy="3311129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43425" y="1350169"/>
            <a:ext cx="4038600" cy="3311129"/>
          </a:xfrm>
        </p:spPr>
        <p:txBody>
          <a:bodyPr/>
          <a:lstStyle/>
          <a:p>
            <a:pPr lvl="0"/>
            <a:endParaRPr lang="nl-NL" dirty="0"/>
          </a:p>
        </p:txBody>
      </p:sp>
      <p:sp>
        <p:nvSpPr>
          <p:cNvPr id="5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nl-NL" kern="1200"/>
          </a:p>
        </p:txBody>
      </p:sp>
      <p:sp>
        <p:nvSpPr>
          <p:cNvPr id="6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kern="1200" smtClean="0"/>
              <a:t>Spending Reviews in The Netherlands</a:t>
            </a:r>
            <a:endParaRPr lang="nl-NL" kern="1200"/>
          </a:p>
        </p:txBody>
      </p:sp>
      <p:sp>
        <p:nvSpPr>
          <p:cNvPr id="7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11CF073A-E9B2-42A5-ABBC-AF6D0D828CBF}" type="slidenum">
              <a:rPr lang="nl-NL" kern="1200" smtClean="0"/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‹#›</a:t>
            </a:fld>
            <a:endParaRPr lang="nl-NL" kern="1200"/>
          </a:p>
        </p:txBody>
      </p:sp>
    </p:spTree>
    <p:extLst>
      <p:ext uri="{BB962C8B-B14F-4D97-AF65-F5344CB8AC3E}">
        <p14:creationId xmlns:p14="http://schemas.microsoft.com/office/powerpoint/2010/main" val="11577566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1 tekstblo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pKleurvlakOnder"/>
          <p:cNvSpPr>
            <a:spLocks noChangeArrowheads="1"/>
          </p:cNvSpPr>
          <p:nvPr/>
        </p:nvSpPr>
        <p:spPr bwMode="auto">
          <a:xfrm>
            <a:off x="0" y="4738687"/>
            <a:ext cx="9144000" cy="404813"/>
          </a:xfrm>
          <a:prstGeom prst="rect">
            <a:avLst/>
          </a:prstGeom>
          <a:solidFill>
            <a:srgbClr val="046F96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5" name="shpTekst"/>
          <p:cNvSpPr>
            <a:spLocks noChangeArrowheads="1"/>
          </p:cNvSpPr>
          <p:nvPr/>
        </p:nvSpPr>
        <p:spPr bwMode="auto">
          <a:xfrm>
            <a:off x="0" y="1"/>
            <a:ext cx="9144000" cy="803672"/>
          </a:xfrm>
          <a:prstGeom prst="rect">
            <a:avLst/>
          </a:prstGeom>
          <a:solidFill>
            <a:srgbClr val="046F96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pic>
        <p:nvPicPr>
          <p:cNvPr id="6" name="shpDatum" descr="RO__vervolgpagina~LPPT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8300" y="924779"/>
            <a:ext cx="7847038" cy="42862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950" spc="-45" baseline="0">
                <a:solidFill>
                  <a:srgbClr val="2494C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3" name="Tijdelijke aanduiding voor inhoud 2"/>
          <p:cNvSpPr>
            <a:spLocks noGrp="1"/>
          </p:cNvSpPr>
          <p:nvPr>
            <p:ph idx="1"/>
          </p:nvPr>
        </p:nvSpPr>
        <p:spPr>
          <a:xfrm>
            <a:off x="369858" y="1348970"/>
            <a:ext cx="7858180" cy="32051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5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134541" indent="-134541">
              <a:buFont typeface="Arial" pitchFamily="34" charset="0"/>
              <a:buChar char="•"/>
              <a:defRPr sz="135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297000" indent="-189000">
              <a:buFontTx/>
              <a:buBlip>
                <a:blip r:embed="rId3"/>
              </a:buBlip>
              <a:defRPr sz="135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404813" indent="-108000">
              <a:buSzPct val="100000"/>
              <a:buFontTx/>
              <a:buBlip>
                <a:blip r:embed="rId4"/>
              </a:buBlip>
              <a:defRPr sz="135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35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</p:txBody>
      </p:sp>
      <p:sp>
        <p:nvSpPr>
          <p:cNvPr id="7" name="shpTitel"/>
          <p:cNvSpPr>
            <a:spLocks noGrp="1" noChangeArrowheads="1"/>
          </p:cNvSpPr>
          <p:nvPr>
            <p:ph type="dt" sz="half" idx="10"/>
          </p:nvPr>
        </p:nvSpPr>
        <p:spPr>
          <a:xfrm>
            <a:off x="4641850" y="4906566"/>
            <a:ext cx="4184650" cy="236934"/>
          </a:xfrm>
        </p:spPr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nl-NL" kern="1200" smtClean="0"/>
              <a:t>3 juni 2010</a:t>
            </a:r>
            <a:endParaRPr lang="nl-NL" kern="1200"/>
          </a:p>
        </p:txBody>
      </p:sp>
      <p:sp>
        <p:nvSpPr>
          <p:cNvPr id="8" name="shpKleurvlakBoven"/>
          <p:cNvSpPr>
            <a:spLocks noGrp="1" noChangeArrowheads="1"/>
          </p:cNvSpPr>
          <p:nvPr>
            <p:ph type="ftr" sz="quarter" idx="11"/>
          </p:nvPr>
        </p:nvSpPr>
        <p:spPr>
          <a:xfrm>
            <a:off x="4645026" y="4772026"/>
            <a:ext cx="4183063" cy="213122"/>
          </a:xfrm>
        </p:spPr>
        <p:txBody>
          <a:bodyPr/>
          <a:lstStyle>
            <a:lvl1pPr>
              <a:defRPr sz="750">
                <a:solidFill>
                  <a:srgbClr val="FFFFFF"/>
                </a:solidFill>
              </a:defRPr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nl-NL" kern="1200" smtClean="0"/>
              <a:t>Fiscal Consolidation in the Netherlands</a:t>
            </a:r>
            <a:endParaRPr lang="nl-NL" kern="1200" dirty="0"/>
          </a:p>
        </p:txBody>
      </p:sp>
      <p:sp>
        <p:nvSpPr>
          <p:cNvPr id="9" name="shpBeeldmerk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87350" y="4772025"/>
            <a:ext cx="712788" cy="272654"/>
          </a:xfrm>
        </p:spPr>
        <p:txBody>
          <a:bodyPr/>
          <a:lstStyle>
            <a:lvl1pPr>
              <a:defRPr sz="750">
                <a:solidFill>
                  <a:srgbClr val="FFFFFF"/>
                </a:solidFill>
              </a:defRPr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EEC845DB-13F5-4340-8017-19675E2C2E83}" type="slidenum">
              <a:rPr lang="nl-NL" kern="1200" smtClean="0"/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‹#›</a:t>
            </a:fld>
            <a:endParaRPr lang="nl-NL" kern="1200"/>
          </a:p>
        </p:txBody>
      </p:sp>
    </p:spTree>
    <p:extLst>
      <p:ext uri="{BB962C8B-B14F-4D97-AF65-F5344CB8AC3E}">
        <p14:creationId xmlns:p14="http://schemas.microsoft.com/office/powerpoint/2010/main" val="258820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/>
          <p:cNvSpPr>
            <a:spLocks noGrp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nl-NL" kern="120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43995920-6B08-4E7D-82F2-EC74BD9E89B1}" type="slidenum">
              <a:rPr lang="nl-NL" kern="1200" smtClean="0"/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‹#›</a:t>
            </a:fld>
            <a:endParaRPr lang="nl-NL" kern="1200"/>
          </a:p>
        </p:txBody>
      </p:sp>
    </p:spTree>
    <p:extLst>
      <p:ext uri="{BB962C8B-B14F-4D97-AF65-F5344CB8AC3E}">
        <p14:creationId xmlns:p14="http://schemas.microsoft.com/office/powerpoint/2010/main" val="867856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7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7"/>
                        <a:ext cx="16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2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76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Arial"/>
              <a:sym typeface="Arial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2239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4269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38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8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3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C6DF62-6965-49F4-959F-4F584E23DE7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rtlCol="0" anchor="ctr"/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6390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7951D4-4221-4520-A8A0-03BAB9FCF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21333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6052" y="131378"/>
            <a:ext cx="8311896" cy="742134"/>
          </a:xfrm>
        </p:spPr>
        <p:txBody>
          <a:bodyPr rtlCol="0">
            <a:noAutofit/>
          </a:bodyPr>
          <a:lstStyle>
            <a:lvl1pPr>
              <a:defRPr/>
            </a:lvl1pPr>
          </a:lstStyle>
          <a:p>
            <a:pPr rtl="0"/>
            <a:r>
              <a:rPr lang="ru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 panose="020B0604020202020204" pitchFamily="34" charset="0"/>
                <a:sym typeface="Arial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5367528" y="67005"/>
            <a:ext cx="3360420" cy="92333"/>
          </a:xfrm>
        </p:spPr>
        <p:txBody>
          <a:bodyPr rtlCol="0"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 rtl="0"/>
            <a:r>
              <a:rPr lang="ru"/>
              <a:t>Chapter › Topic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2F3A4B9-FBA1-4408-BD2B-B9889CFC61B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76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18128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C61A7A0-1C93-4AA0-A648-1EB41868A1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86600" y="4868880"/>
            <a:ext cx="2057400" cy="274637"/>
          </a:xfrm>
        </p:spPr>
        <p:txBody>
          <a:bodyPr lIns="91408" tIns="45704" rIns="91408" bIns="45704"/>
          <a:lstStyle/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081FDE25-092C-446A-8BDB-6D3153C62E83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/>
                <a:sym typeface="Arial"/>
              </a:rPr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5293791"/>
      </p:ext>
    </p:extLst>
  </p:cSld>
  <p:clrMapOvr>
    <a:masterClrMapping/>
  </p:clrMapOvr>
  <p:transition spd="slow">
    <p:push dir="u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75906327-C842-44A7-A4C4-73591E8294AF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61962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61BE7F4B-BE21-47D2-B131-4B92EC51F09C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3723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D28AA80F-B30D-4BCF-829D-DFA567EFD947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9918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05484BF5-16DE-4F23-9270-B36B47996724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0187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E41D2F45-931A-4513-936C-E613CD005664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30978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A1FCBB34-2A01-45F5-9C4A-6E9185FB7E8A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29213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77" indent="0">
              <a:buNone/>
              <a:defRPr sz="1500" b="1"/>
            </a:lvl2pPr>
            <a:lvl3pPr marL="685375" indent="0">
              <a:buNone/>
              <a:defRPr sz="1400" b="1"/>
            </a:lvl3pPr>
            <a:lvl4pPr marL="1028063" indent="0">
              <a:buNone/>
              <a:defRPr sz="1200" b="1"/>
            </a:lvl4pPr>
            <a:lvl5pPr marL="1370750" indent="0">
              <a:buNone/>
              <a:defRPr sz="1200" b="1"/>
            </a:lvl5pPr>
            <a:lvl6pPr marL="1713449" indent="0">
              <a:buNone/>
              <a:defRPr sz="1200" b="1"/>
            </a:lvl6pPr>
            <a:lvl7pPr marL="2056124" indent="0">
              <a:buNone/>
              <a:defRPr sz="1200" b="1"/>
            </a:lvl7pPr>
            <a:lvl8pPr marL="2398800" indent="0">
              <a:buNone/>
              <a:defRPr sz="1200" b="1"/>
            </a:lvl8pPr>
            <a:lvl9pPr marL="2741477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77" indent="0">
              <a:buNone/>
              <a:defRPr sz="1500" b="1"/>
            </a:lvl2pPr>
            <a:lvl3pPr marL="685375" indent="0">
              <a:buNone/>
              <a:defRPr sz="1400" b="1"/>
            </a:lvl3pPr>
            <a:lvl4pPr marL="1028063" indent="0">
              <a:buNone/>
              <a:defRPr sz="1200" b="1"/>
            </a:lvl4pPr>
            <a:lvl5pPr marL="1370750" indent="0">
              <a:buNone/>
              <a:defRPr sz="1200" b="1"/>
            </a:lvl5pPr>
            <a:lvl6pPr marL="1713449" indent="0">
              <a:buNone/>
              <a:defRPr sz="1200" b="1"/>
            </a:lvl6pPr>
            <a:lvl7pPr marL="2056124" indent="0">
              <a:buNone/>
              <a:defRPr sz="1200" b="1"/>
            </a:lvl7pPr>
            <a:lvl8pPr marL="2398800" indent="0">
              <a:buNone/>
              <a:defRPr sz="1200" b="1"/>
            </a:lvl8pPr>
            <a:lvl9pPr marL="2741477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0817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ED207E0C-E064-4C3E-86F4-1AE3872C9389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98370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920E31A5-A27E-4E22-B093-9D4600A89A16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0355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EB564790-558B-4AB8-8FED-FDD8A9E036A7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9995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A9868958-A0A7-4759-8CE0-FA0B724376E6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0895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2"/>
            <a:ext cx="2057400" cy="32908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2"/>
            <a:ext cx="6019800" cy="32908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8">
              <a:buClrTx/>
            </a:pPr>
            <a:fld id="{126B2C9A-863C-464D-A73C-FDB20E2FA2F5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2886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677" indent="0" algn="ctr">
              <a:buNone/>
              <a:defRPr sz="1500"/>
            </a:lvl2pPr>
            <a:lvl3pPr marL="685375" indent="0" algn="ctr">
              <a:buNone/>
              <a:defRPr sz="1400"/>
            </a:lvl3pPr>
            <a:lvl4pPr marL="1028063" indent="0" algn="ctr">
              <a:buNone/>
              <a:defRPr sz="1200"/>
            </a:lvl4pPr>
            <a:lvl5pPr marL="1370750" indent="0" algn="ctr">
              <a:buNone/>
              <a:defRPr sz="1200"/>
            </a:lvl5pPr>
            <a:lvl6pPr marL="1713449" indent="0" algn="ctr">
              <a:buNone/>
              <a:defRPr sz="1200"/>
            </a:lvl6pPr>
            <a:lvl7pPr marL="2056124" indent="0" algn="ctr">
              <a:buNone/>
              <a:defRPr sz="1200"/>
            </a:lvl7pPr>
            <a:lvl8pPr marL="2398800" indent="0" algn="ctr">
              <a:buNone/>
              <a:defRPr sz="1200"/>
            </a:lvl8pPr>
            <a:lvl9pPr marL="2741477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3980"/>
            <a:ext cx="128642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34066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3980"/>
            <a:ext cx="128642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523218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48436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67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3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0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7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4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1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8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147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98985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23795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77" indent="0">
              <a:buNone/>
              <a:defRPr sz="1500" b="1"/>
            </a:lvl2pPr>
            <a:lvl3pPr marL="685375" indent="0">
              <a:buNone/>
              <a:defRPr sz="1400" b="1"/>
            </a:lvl3pPr>
            <a:lvl4pPr marL="1028063" indent="0">
              <a:buNone/>
              <a:defRPr sz="1200" b="1"/>
            </a:lvl4pPr>
            <a:lvl5pPr marL="1370750" indent="0">
              <a:buNone/>
              <a:defRPr sz="1200" b="1"/>
            </a:lvl5pPr>
            <a:lvl6pPr marL="1713449" indent="0">
              <a:buNone/>
              <a:defRPr sz="1200" b="1"/>
            </a:lvl6pPr>
            <a:lvl7pPr marL="2056124" indent="0">
              <a:buNone/>
              <a:defRPr sz="1200" b="1"/>
            </a:lvl7pPr>
            <a:lvl8pPr marL="2398800" indent="0">
              <a:buNone/>
              <a:defRPr sz="1200" b="1"/>
            </a:lvl8pPr>
            <a:lvl9pPr marL="2741477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77" indent="0">
              <a:buNone/>
              <a:defRPr sz="1500" b="1"/>
            </a:lvl2pPr>
            <a:lvl3pPr marL="685375" indent="0">
              <a:buNone/>
              <a:defRPr sz="1400" b="1"/>
            </a:lvl3pPr>
            <a:lvl4pPr marL="1028063" indent="0">
              <a:buNone/>
              <a:defRPr sz="1200" b="1"/>
            </a:lvl4pPr>
            <a:lvl5pPr marL="1370750" indent="0">
              <a:buNone/>
              <a:defRPr sz="1200" b="1"/>
            </a:lvl5pPr>
            <a:lvl6pPr marL="1713449" indent="0">
              <a:buNone/>
              <a:defRPr sz="1200" b="1"/>
            </a:lvl6pPr>
            <a:lvl7pPr marL="2056124" indent="0">
              <a:buNone/>
              <a:defRPr sz="1200" b="1"/>
            </a:lvl7pPr>
            <a:lvl8pPr marL="2398800" indent="0">
              <a:buNone/>
              <a:defRPr sz="1200" b="1"/>
            </a:lvl8pPr>
            <a:lvl9pPr marL="2741477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9566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492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29329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52112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677" indent="0">
              <a:buNone/>
              <a:defRPr sz="1100"/>
            </a:lvl2pPr>
            <a:lvl3pPr marL="685375" indent="0">
              <a:buNone/>
              <a:defRPr sz="900"/>
            </a:lvl3pPr>
            <a:lvl4pPr marL="1028063" indent="0">
              <a:buNone/>
              <a:defRPr sz="800"/>
            </a:lvl4pPr>
            <a:lvl5pPr marL="1370750" indent="0">
              <a:buNone/>
              <a:defRPr sz="800"/>
            </a:lvl5pPr>
            <a:lvl6pPr marL="1713449" indent="0">
              <a:buNone/>
              <a:defRPr sz="800"/>
            </a:lvl6pPr>
            <a:lvl7pPr marL="2056124" indent="0">
              <a:buNone/>
              <a:defRPr sz="800"/>
            </a:lvl7pPr>
            <a:lvl8pPr marL="2398800" indent="0">
              <a:buNone/>
              <a:defRPr sz="800"/>
            </a:lvl8pPr>
            <a:lvl9pPr marL="2741477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58085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677" indent="0">
              <a:buNone/>
              <a:defRPr sz="2100"/>
            </a:lvl2pPr>
            <a:lvl3pPr marL="685375" indent="0">
              <a:buNone/>
              <a:defRPr sz="1800"/>
            </a:lvl3pPr>
            <a:lvl4pPr marL="1028063" indent="0">
              <a:buNone/>
              <a:defRPr sz="1500"/>
            </a:lvl4pPr>
            <a:lvl5pPr marL="1370750" indent="0">
              <a:buNone/>
              <a:defRPr sz="1500"/>
            </a:lvl5pPr>
            <a:lvl6pPr marL="1713449" indent="0">
              <a:buNone/>
              <a:defRPr sz="1500"/>
            </a:lvl6pPr>
            <a:lvl7pPr marL="2056124" indent="0">
              <a:buNone/>
              <a:defRPr sz="1500"/>
            </a:lvl7pPr>
            <a:lvl8pPr marL="2398800" indent="0">
              <a:buNone/>
              <a:defRPr sz="1500"/>
            </a:lvl8pPr>
            <a:lvl9pPr marL="2741477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677" indent="0">
              <a:buNone/>
              <a:defRPr sz="1100"/>
            </a:lvl2pPr>
            <a:lvl3pPr marL="685375" indent="0">
              <a:buNone/>
              <a:defRPr sz="900"/>
            </a:lvl3pPr>
            <a:lvl4pPr marL="1028063" indent="0">
              <a:buNone/>
              <a:defRPr sz="800"/>
            </a:lvl4pPr>
            <a:lvl5pPr marL="1370750" indent="0">
              <a:buNone/>
              <a:defRPr sz="800"/>
            </a:lvl5pPr>
            <a:lvl6pPr marL="1713449" indent="0">
              <a:buNone/>
              <a:defRPr sz="800"/>
            </a:lvl6pPr>
            <a:lvl7pPr marL="2056124" indent="0">
              <a:buNone/>
              <a:defRPr sz="800"/>
            </a:lvl7pPr>
            <a:lvl8pPr marL="2398800" indent="0">
              <a:buNone/>
              <a:defRPr sz="800"/>
            </a:lvl8pPr>
            <a:lvl9pPr marL="2741477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33585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176296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5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5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37520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3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5" rIns="91390" bIns="45695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1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6901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0149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3" y="1597853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5" y="2914659"/>
            <a:ext cx="6400801" cy="131444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9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8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75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993592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622409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8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8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965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92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89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85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4825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978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475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971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3842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2081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4" y="900118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2" y="900118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96526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05982"/>
            <a:ext cx="8229599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8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9659" indent="0">
              <a:buNone/>
              <a:defRPr sz="2000" b="1"/>
            </a:lvl2pPr>
            <a:lvl3pPr marL="899297" indent="0">
              <a:buNone/>
              <a:defRPr sz="1800" b="1"/>
            </a:lvl3pPr>
            <a:lvl4pPr marL="1348976" indent="0">
              <a:buNone/>
              <a:defRPr sz="1600" b="1"/>
            </a:lvl4pPr>
            <a:lvl5pPr marL="1798598" indent="0">
              <a:buNone/>
              <a:defRPr sz="1600" b="1"/>
            </a:lvl5pPr>
            <a:lvl6pPr marL="2248257" indent="0">
              <a:buNone/>
              <a:defRPr sz="1600" b="1"/>
            </a:lvl6pPr>
            <a:lvl7pPr marL="2697896" indent="0">
              <a:buNone/>
              <a:defRPr sz="1600" b="1"/>
            </a:lvl7pPr>
            <a:lvl8pPr marL="3147575" indent="0">
              <a:buNone/>
              <a:defRPr sz="1600" b="1"/>
            </a:lvl8pPr>
            <a:lvl9pPr marL="35971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8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0" y="1151338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9659" indent="0">
              <a:buNone/>
              <a:defRPr sz="2000" b="1"/>
            </a:lvl2pPr>
            <a:lvl3pPr marL="899297" indent="0">
              <a:buNone/>
              <a:defRPr sz="1800" b="1"/>
            </a:lvl3pPr>
            <a:lvl4pPr marL="1348976" indent="0">
              <a:buNone/>
              <a:defRPr sz="1600" b="1"/>
            </a:lvl4pPr>
            <a:lvl5pPr marL="1798598" indent="0">
              <a:buNone/>
              <a:defRPr sz="1600" b="1"/>
            </a:lvl5pPr>
            <a:lvl6pPr marL="2248257" indent="0">
              <a:buNone/>
              <a:defRPr sz="1600" b="1"/>
            </a:lvl6pPr>
            <a:lvl7pPr marL="2697896" indent="0">
              <a:buNone/>
              <a:defRPr sz="1600" b="1"/>
            </a:lvl7pPr>
            <a:lvl8pPr marL="3147575" indent="0">
              <a:buNone/>
              <a:defRPr sz="1600" b="1"/>
            </a:lvl8pPr>
            <a:lvl9pPr marL="359719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60" y="1631158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074187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984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8470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1" y="204790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81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1" y="1076349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49659" indent="0">
              <a:buNone/>
              <a:defRPr sz="1200"/>
            </a:lvl2pPr>
            <a:lvl3pPr marL="899297" indent="0">
              <a:buNone/>
              <a:defRPr sz="1000"/>
            </a:lvl3pPr>
            <a:lvl4pPr marL="1348976" indent="0">
              <a:buNone/>
              <a:defRPr sz="900"/>
            </a:lvl4pPr>
            <a:lvl5pPr marL="1798598" indent="0">
              <a:buNone/>
              <a:defRPr sz="900"/>
            </a:lvl5pPr>
            <a:lvl6pPr marL="2248257" indent="0">
              <a:buNone/>
              <a:defRPr sz="900"/>
            </a:lvl6pPr>
            <a:lvl7pPr marL="2697896" indent="0">
              <a:buNone/>
              <a:defRPr sz="900"/>
            </a:lvl7pPr>
            <a:lvl8pPr marL="3147575" indent="0">
              <a:buNone/>
              <a:defRPr sz="900"/>
            </a:lvl8pPr>
            <a:lvl9pPr marL="359719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41977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7" y="3600454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7" y="459580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49659" indent="0">
              <a:buNone/>
              <a:defRPr sz="2800"/>
            </a:lvl2pPr>
            <a:lvl3pPr marL="899297" indent="0">
              <a:buNone/>
              <a:defRPr sz="2400"/>
            </a:lvl3pPr>
            <a:lvl4pPr marL="1348976" indent="0">
              <a:buNone/>
              <a:defRPr sz="2000"/>
            </a:lvl4pPr>
            <a:lvl5pPr marL="1798598" indent="0">
              <a:buNone/>
              <a:defRPr sz="2000"/>
            </a:lvl5pPr>
            <a:lvl6pPr marL="2248257" indent="0">
              <a:buNone/>
              <a:defRPr sz="2000"/>
            </a:lvl6pPr>
            <a:lvl7pPr marL="2697896" indent="0">
              <a:buNone/>
              <a:defRPr sz="2000"/>
            </a:lvl7pPr>
            <a:lvl8pPr marL="3147575" indent="0">
              <a:buNone/>
              <a:defRPr sz="2000"/>
            </a:lvl8pPr>
            <a:lvl9pPr marL="3597196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7" y="402554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49659" indent="0">
              <a:buNone/>
              <a:defRPr sz="1200"/>
            </a:lvl2pPr>
            <a:lvl3pPr marL="899297" indent="0">
              <a:buNone/>
              <a:defRPr sz="1000"/>
            </a:lvl3pPr>
            <a:lvl4pPr marL="1348976" indent="0">
              <a:buNone/>
              <a:defRPr sz="900"/>
            </a:lvl4pPr>
            <a:lvl5pPr marL="1798598" indent="0">
              <a:buNone/>
              <a:defRPr sz="900"/>
            </a:lvl5pPr>
            <a:lvl6pPr marL="2248257" indent="0">
              <a:buNone/>
              <a:defRPr sz="900"/>
            </a:lvl6pPr>
            <a:lvl7pPr marL="2697896" indent="0">
              <a:buNone/>
              <a:defRPr sz="900"/>
            </a:lvl7pPr>
            <a:lvl8pPr marL="3147575" indent="0">
              <a:buNone/>
              <a:defRPr sz="900"/>
            </a:lvl8pPr>
            <a:lvl9pPr marL="359719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52472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962603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2" y="154784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20" y="154784"/>
            <a:ext cx="6019801" cy="32908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77997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5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4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7" tIns="45593" rIns="91187" bIns="45593" anchor="ctr"/>
          <a:lstStyle/>
          <a:p>
            <a:pPr marL="0" marR="0" lvl="0" indent="0" algn="ctr" defTabSz="6897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/>
              </a:rPr>
              <a:pPr marL="0" marR="0" lvl="0" indent="0" algn="ctr" defTabSz="6897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2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655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56614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">
            <a:extLst>
              <a:ext uri="{FF2B5EF4-FFF2-40B4-BE49-F238E27FC236}">
                <a16:creationId xmlns:a16="http://schemas.microsoft.com/office/drawing/2014/main" id="{20D62EEF-71F8-4F55-8521-893C5C7B6645}"/>
              </a:ext>
            </a:extLst>
          </p:cNvPr>
          <p:cNvCxnSpPr>
            <a:cxnSpLocks/>
          </p:cNvCxnSpPr>
          <p:nvPr userDrawn="1"/>
        </p:nvCxnSpPr>
        <p:spPr>
          <a:xfrm>
            <a:off x="502895" y="667569"/>
            <a:ext cx="8133793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7774" y="262686"/>
            <a:ext cx="8131168" cy="31647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04"/>
              </a:spcAft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id="{9D1D5787-3E91-4FEA-AB0C-57078295F086}"/>
              </a:ext>
            </a:extLst>
          </p:cNvPr>
          <p:cNvSpPr/>
          <p:nvPr userDrawn="1"/>
        </p:nvSpPr>
        <p:spPr>
          <a:xfrm>
            <a:off x="8714962" y="4772751"/>
            <a:ext cx="222254" cy="2192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708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09CE21-7FC1-49DC-910A-F2C968E54205}" type="slidenum">
              <a:rPr kumimoji="0" lang="en-US" sz="1400" b="0" i="0" u="none" strike="noStrike" kern="1200" cap="none" spc="-7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7086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-7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358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677" indent="0">
              <a:buNone/>
              <a:defRPr sz="1100"/>
            </a:lvl2pPr>
            <a:lvl3pPr marL="685375" indent="0">
              <a:buNone/>
              <a:defRPr sz="900"/>
            </a:lvl3pPr>
            <a:lvl4pPr marL="1028063" indent="0">
              <a:buNone/>
              <a:defRPr sz="800"/>
            </a:lvl4pPr>
            <a:lvl5pPr marL="1370750" indent="0">
              <a:buNone/>
              <a:defRPr sz="800"/>
            </a:lvl5pPr>
            <a:lvl6pPr marL="1713449" indent="0">
              <a:buNone/>
              <a:defRPr sz="800"/>
            </a:lvl6pPr>
            <a:lvl7pPr marL="2056124" indent="0">
              <a:buNone/>
              <a:defRPr sz="800"/>
            </a:lvl7pPr>
            <a:lvl8pPr marL="2398800" indent="0">
              <a:buNone/>
              <a:defRPr sz="800"/>
            </a:lvl8pPr>
            <a:lvl9pPr marL="2741477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85581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3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5" rIns="91390" bIns="45695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1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6901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7930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749" indent="0" algn="ctr">
              <a:buNone/>
              <a:defRPr sz="1500"/>
            </a:lvl2pPr>
            <a:lvl3pPr marL="685511" indent="0" algn="ctr">
              <a:buNone/>
              <a:defRPr sz="1400"/>
            </a:lvl3pPr>
            <a:lvl4pPr marL="1028267" indent="0" algn="ctr">
              <a:buNone/>
              <a:defRPr sz="1200"/>
            </a:lvl4pPr>
            <a:lvl5pPr marL="1371022" indent="0" algn="ctr">
              <a:buNone/>
              <a:defRPr sz="1200"/>
            </a:lvl5pPr>
            <a:lvl6pPr marL="1713785" indent="0" algn="ctr">
              <a:buNone/>
              <a:defRPr sz="1200"/>
            </a:lvl6pPr>
            <a:lvl7pPr marL="2056532" indent="0" algn="ctr">
              <a:buNone/>
              <a:defRPr sz="1200"/>
            </a:lvl7pPr>
            <a:lvl8pPr marL="2399280" indent="0" algn="ctr">
              <a:buNone/>
              <a:defRPr sz="1200"/>
            </a:lvl8pPr>
            <a:lvl9pPr marL="2742029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4" y="4963980"/>
            <a:ext cx="129844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855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l" defTabSz="6855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794510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4" y="4963980"/>
            <a:ext cx="129844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855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l" defTabSz="6855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523218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263312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7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5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26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02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78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2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02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84092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7113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49" indent="0">
              <a:buNone/>
              <a:defRPr sz="1500" b="1"/>
            </a:lvl2pPr>
            <a:lvl3pPr marL="685511" indent="0">
              <a:buNone/>
              <a:defRPr sz="1400" b="1"/>
            </a:lvl3pPr>
            <a:lvl4pPr marL="1028267" indent="0">
              <a:buNone/>
              <a:defRPr sz="1200" b="1"/>
            </a:lvl4pPr>
            <a:lvl5pPr marL="1371022" indent="0">
              <a:buNone/>
              <a:defRPr sz="1200" b="1"/>
            </a:lvl5pPr>
            <a:lvl6pPr marL="1713785" indent="0">
              <a:buNone/>
              <a:defRPr sz="1200" b="1"/>
            </a:lvl6pPr>
            <a:lvl7pPr marL="2056532" indent="0">
              <a:buNone/>
              <a:defRPr sz="1200" b="1"/>
            </a:lvl7pPr>
            <a:lvl8pPr marL="2399280" indent="0">
              <a:buNone/>
              <a:defRPr sz="1200" b="1"/>
            </a:lvl8pPr>
            <a:lvl9pPr marL="274202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49" indent="0">
              <a:buNone/>
              <a:defRPr sz="1500" b="1"/>
            </a:lvl2pPr>
            <a:lvl3pPr marL="685511" indent="0">
              <a:buNone/>
              <a:defRPr sz="1400" b="1"/>
            </a:lvl3pPr>
            <a:lvl4pPr marL="1028267" indent="0">
              <a:buNone/>
              <a:defRPr sz="1200" b="1"/>
            </a:lvl4pPr>
            <a:lvl5pPr marL="1371022" indent="0">
              <a:buNone/>
              <a:defRPr sz="1200" b="1"/>
            </a:lvl5pPr>
            <a:lvl6pPr marL="1713785" indent="0">
              <a:buNone/>
              <a:defRPr sz="1200" b="1"/>
            </a:lvl6pPr>
            <a:lvl7pPr marL="2056532" indent="0">
              <a:buNone/>
              <a:defRPr sz="1200" b="1"/>
            </a:lvl7pPr>
            <a:lvl8pPr marL="2399280" indent="0">
              <a:buNone/>
              <a:defRPr sz="1200" b="1"/>
            </a:lvl8pPr>
            <a:lvl9pPr marL="2742029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239943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00903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74873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49" indent="0">
              <a:buNone/>
              <a:defRPr sz="1100"/>
            </a:lvl2pPr>
            <a:lvl3pPr marL="685511" indent="0">
              <a:buNone/>
              <a:defRPr sz="900"/>
            </a:lvl3pPr>
            <a:lvl4pPr marL="1028267" indent="0">
              <a:buNone/>
              <a:defRPr sz="800"/>
            </a:lvl4pPr>
            <a:lvl5pPr marL="1371022" indent="0">
              <a:buNone/>
              <a:defRPr sz="800"/>
            </a:lvl5pPr>
            <a:lvl6pPr marL="1713785" indent="0">
              <a:buNone/>
              <a:defRPr sz="800"/>
            </a:lvl6pPr>
            <a:lvl7pPr marL="2056532" indent="0">
              <a:buNone/>
              <a:defRPr sz="800"/>
            </a:lvl7pPr>
            <a:lvl8pPr marL="2399280" indent="0">
              <a:buNone/>
              <a:defRPr sz="800"/>
            </a:lvl8pPr>
            <a:lvl9pPr marL="2742029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644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749" indent="0">
              <a:buNone/>
              <a:defRPr sz="2100"/>
            </a:lvl2pPr>
            <a:lvl3pPr marL="685511" indent="0">
              <a:buNone/>
              <a:defRPr sz="1800"/>
            </a:lvl3pPr>
            <a:lvl4pPr marL="1028267" indent="0">
              <a:buNone/>
              <a:defRPr sz="1500"/>
            </a:lvl4pPr>
            <a:lvl5pPr marL="1371022" indent="0">
              <a:buNone/>
              <a:defRPr sz="1500"/>
            </a:lvl5pPr>
            <a:lvl6pPr marL="1713785" indent="0">
              <a:buNone/>
              <a:defRPr sz="1500"/>
            </a:lvl6pPr>
            <a:lvl7pPr marL="2056532" indent="0">
              <a:buNone/>
              <a:defRPr sz="1500"/>
            </a:lvl7pPr>
            <a:lvl8pPr marL="2399280" indent="0">
              <a:buNone/>
              <a:defRPr sz="1500"/>
            </a:lvl8pPr>
            <a:lvl9pPr marL="2742029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49" indent="0">
              <a:buNone/>
              <a:defRPr sz="1100"/>
            </a:lvl2pPr>
            <a:lvl3pPr marL="685511" indent="0">
              <a:buNone/>
              <a:defRPr sz="900"/>
            </a:lvl3pPr>
            <a:lvl4pPr marL="1028267" indent="0">
              <a:buNone/>
              <a:defRPr sz="800"/>
            </a:lvl4pPr>
            <a:lvl5pPr marL="1371022" indent="0">
              <a:buNone/>
              <a:defRPr sz="800"/>
            </a:lvl5pPr>
            <a:lvl6pPr marL="1713785" indent="0">
              <a:buNone/>
              <a:defRPr sz="800"/>
            </a:lvl6pPr>
            <a:lvl7pPr marL="2056532" indent="0">
              <a:buNone/>
              <a:defRPr sz="800"/>
            </a:lvl7pPr>
            <a:lvl8pPr marL="2399280" indent="0">
              <a:buNone/>
              <a:defRPr sz="800"/>
            </a:lvl8pPr>
            <a:lvl9pPr marL="2742029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0080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677" indent="0">
              <a:buNone/>
              <a:defRPr sz="2100"/>
            </a:lvl2pPr>
            <a:lvl3pPr marL="685375" indent="0">
              <a:buNone/>
              <a:defRPr sz="1800"/>
            </a:lvl3pPr>
            <a:lvl4pPr marL="1028063" indent="0">
              <a:buNone/>
              <a:defRPr sz="1500"/>
            </a:lvl4pPr>
            <a:lvl5pPr marL="1370750" indent="0">
              <a:buNone/>
              <a:defRPr sz="1500"/>
            </a:lvl5pPr>
            <a:lvl6pPr marL="1713449" indent="0">
              <a:buNone/>
              <a:defRPr sz="1500"/>
            </a:lvl6pPr>
            <a:lvl7pPr marL="2056124" indent="0">
              <a:buNone/>
              <a:defRPr sz="1500"/>
            </a:lvl7pPr>
            <a:lvl8pPr marL="2398800" indent="0">
              <a:buNone/>
              <a:defRPr sz="1500"/>
            </a:lvl8pPr>
            <a:lvl9pPr marL="2741477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677" indent="0">
              <a:buNone/>
              <a:defRPr sz="1100"/>
            </a:lvl2pPr>
            <a:lvl3pPr marL="685375" indent="0">
              <a:buNone/>
              <a:defRPr sz="900"/>
            </a:lvl3pPr>
            <a:lvl4pPr marL="1028063" indent="0">
              <a:buNone/>
              <a:defRPr sz="800"/>
            </a:lvl4pPr>
            <a:lvl5pPr marL="1370750" indent="0">
              <a:buNone/>
              <a:defRPr sz="800"/>
            </a:lvl5pPr>
            <a:lvl6pPr marL="1713449" indent="0">
              <a:buNone/>
              <a:defRPr sz="800"/>
            </a:lvl6pPr>
            <a:lvl7pPr marL="2056124" indent="0">
              <a:buNone/>
              <a:defRPr sz="800"/>
            </a:lvl7pPr>
            <a:lvl8pPr marL="2398800" indent="0">
              <a:buNone/>
              <a:defRPr sz="800"/>
            </a:lvl8pPr>
            <a:lvl9pPr marL="2741477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1400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70015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5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5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685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50799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3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3" rIns="91406" bIns="45703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2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6902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5459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704" indent="0" algn="ctr">
              <a:buNone/>
              <a:defRPr sz="1500"/>
            </a:lvl2pPr>
            <a:lvl3pPr marL="685426" indent="0" algn="ctr">
              <a:buNone/>
              <a:defRPr sz="1400"/>
            </a:lvl3pPr>
            <a:lvl4pPr marL="1028139" indent="0" algn="ctr">
              <a:buNone/>
              <a:defRPr sz="1200"/>
            </a:lvl4pPr>
            <a:lvl5pPr marL="1370852" indent="0" algn="ctr">
              <a:buNone/>
              <a:defRPr sz="1200"/>
            </a:lvl5pPr>
            <a:lvl6pPr marL="1713575" indent="0" algn="ctr">
              <a:buNone/>
              <a:defRPr sz="1200"/>
            </a:lvl6pPr>
            <a:lvl7pPr marL="2056277" indent="0" algn="ctr">
              <a:buNone/>
              <a:defRPr sz="1200"/>
            </a:lvl7pPr>
            <a:lvl8pPr marL="2398980" indent="0" algn="ctr">
              <a:buNone/>
              <a:defRPr sz="1200"/>
            </a:lvl8pPr>
            <a:lvl9pPr marL="274168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4" y="4963980"/>
            <a:ext cx="129844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778621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4" y="4963980"/>
            <a:ext cx="129844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523218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01511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2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7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4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13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85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5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27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89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168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17245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600963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04" indent="0">
              <a:buNone/>
              <a:defRPr sz="1500" b="1"/>
            </a:lvl2pPr>
            <a:lvl3pPr marL="685426" indent="0">
              <a:buNone/>
              <a:defRPr sz="1400" b="1"/>
            </a:lvl3pPr>
            <a:lvl4pPr marL="1028139" indent="0">
              <a:buNone/>
              <a:defRPr sz="1200" b="1"/>
            </a:lvl4pPr>
            <a:lvl5pPr marL="1370852" indent="0">
              <a:buNone/>
              <a:defRPr sz="1200" b="1"/>
            </a:lvl5pPr>
            <a:lvl6pPr marL="1713575" indent="0">
              <a:buNone/>
              <a:defRPr sz="1200" b="1"/>
            </a:lvl6pPr>
            <a:lvl7pPr marL="2056277" indent="0">
              <a:buNone/>
              <a:defRPr sz="1200" b="1"/>
            </a:lvl7pPr>
            <a:lvl8pPr marL="2398980" indent="0">
              <a:buNone/>
              <a:defRPr sz="1200" b="1"/>
            </a:lvl8pPr>
            <a:lvl9pPr marL="274168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04" indent="0">
              <a:buNone/>
              <a:defRPr sz="1500" b="1"/>
            </a:lvl2pPr>
            <a:lvl3pPr marL="685426" indent="0">
              <a:buNone/>
              <a:defRPr sz="1400" b="1"/>
            </a:lvl3pPr>
            <a:lvl4pPr marL="1028139" indent="0">
              <a:buNone/>
              <a:defRPr sz="1200" b="1"/>
            </a:lvl4pPr>
            <a:lvl5pPr marL="1370852" indent="0">
              <a:buNone/>
              <a:defRPr sz="1200" b="1"/>
            </a:lvl5pPr>
            <a:lvl6pPr marL="1713575" indent="0">
              <a:buNone/>
              <a:defRPr sz="1200" b="1"/>
            </a:lvl6pPr>
            <a:lvl7pPr marL="2056277" indent="0">
              <a:buNone/>
              <a:defRPr sz="1200" b="1"/>
            </a:lvl7pPr>
            <a:lvl8pPr marL="2398980" indent="0">
              <a:buNone/>
              <a:defRPr sz="1200" b="1"/>
            </a:lvl8pPr>
            <a:lvl9pPr marL="2741684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16449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94889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1288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tags" Target="../tags/tag31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42" Type="http://schemas.openxmlformats.org/officeDocument/2006/relationships/tags" Target="../tags/tag34.xml"/><Relationship Id="rId47" Type="http://schemas.openxmlformats.org/officeDocument/2006/relationships/tags" Target="../tags/tag39.xml"/><Relationship Id="rId50" Type="http://schemas.openxmlformats.org/officeDocument/2006/relationships/tags" Target="../tags/tag4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8.xml"/><Relationship Id="rId29" Type="http://schemas.openxmlformats.org/officeDocument/2006/relationships/tags" Target="../tags/tag21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40" Type="http://schemas.openxmlformats.org/officeDocument/2006/relationships/tags" Target="../tags/tag32.xml"/><Relationship Id="rId45" Type="http://schemas.openxmlformats.org/officeDocument/2006/relationships/tags" Target="../tags/tag37.xml"/><Relationship Id="rId53" Type="http://schemas.openxmlformats.org/officeDocument/2006/relationships/image" Target="NULL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4" Type="http://schemas.openxmlformats.org/officeDocument/2006/relationships/tags" Target="../tags/tag3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43" Type="http://schemas.openxmlformats.org/officeDocument/2006/relationships/tags" Target="../tags/tag35.xml"/><Relationship Id="rId48" Type="http://schemas.openxmlformats.org/officeDocument/2006/relationships/tags" Target="../tags/tag40.xml"/><Relationship Id="rId8" Type="http://schemas.openxmlformats.org/officeDocument/2006/relationships/vmlDrawing" Target="../drawings/vmlDrawing1.vml"/><Relationship Id="rId51" Type="http://schemas.openxmlformats.org/officeDocument/2006/relationships/tags" Target="../tags/tag43.xml"/><Relationship Id="rId3" Type="http://schemas.openxmlformats.org/officeDocument/2006/relationships/slideLayout" Target="../slideLayouts/slideLayout28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tags" Target="../tags/tag30.xml"/><Relationship Id="rId46" Type="http://schemas.openxmlformats.org/officeDocument/2006/relationships/tags" Target="../tags/tag38.xml"/><Relationship Id="rId20" Type="http://schemas.openxmlformats.org/officeDocument/2006/relationships/tags" Target="../tags/tag12.xml"/><Relationship Id="rId41" Type="http://schemas.openxmlformats.org/officeDocument/2006/relationships/tags" Target="../tags/tag33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49" Type="http://schemas.openxmlformats.org/officeDocument/2006/relationships/tags" Target="../tags/tag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tags" Target="../tags/tag71.xml"/><Relationship Id="rId39" Type="http://schemas.openxmlformats.org/officeDocument/2006/relationships/tags" Target="../tags/tag84.xml"/><Relationship Id="rId21" Type="http://schemas.openxmlformats.org/officeDocument/2006/relationships/tags" Target="../tags/tag66.xml"/><Relationship Id="rId34" Type="http://schemas.openxmlformats.org/officeDocument/2006/relationships/tags" Target="../tags/tag79.xml"/><Relationship Id="rId42" Type="http://schemas.openxmlformats.org/officeDocument/2006/relationships/tags" Target="../tags/tag87.xml"/><Relationship Id="rId47" Type="http://schemas.openxmlformats.org/officeDocument/2006/relationships/tags" Target="../tags/tag92.xml"/><Relationship Id="rId50" Type="http://schemas.openxmlformats.org/officeDocument/2006/relationships/tags" Target="../tags/tag95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61.xml"/><Relationship Id="rId29" Type="http://schemas.openxmlformats.org/officeDocument/2006/relationships/tags" Target="../tags/tag74.xml"/><Relationship Id="rId11" Type="http://schemas.openxmlformats.org/officeDocument/2006/relationships/tags" Target="../tags/tag56.xml"/><Relationship Id="rId24" Type="http://schemas.openxmlformats.org/officeDocument/2006/relationships/tags" Target="../tags/tag69.xml"/><Relationship Id="rId32" Type="http://schemas.openxmlformats.org/officeDocument/2006/relationships/tags" Target="../tags/tag77.xml"/><Relationship Id="rId37" Type="http://schemas.openxmlformats.org/officeDocument/2006/relationships/tags" Target="../tags/tag82.xml"/><Relationship Id="rId40" Type="http://schemas.openxmlformats.org/officeDocument/2006/relationships/tags" Target="../tags/tag85.xml"/><Relationship Id="rId45" Type="http://schemas.openxmlformats.org/officeDocument/2006/relationships/tags" Target="../tags/tag90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tags" Target="../tags/tag73.xml"/><Relationship Id="rId36" Type="http://schemas.openxmlformats.org/officeDocument/2006/relationships/tags" Target="../tags/tag81.xml"/><Relationship Id="rId49" Type="http://schemas.openxmlformats.org/officeDocument/2006/relationships/tags" Target="../tags/tag94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31" Type="http://schemas.openxmlformats.org/officeDocument/2006/relationships/tags" Target="../tags/tag76.xml"/><Relationship Id="rId44" Type="http://schemas.openxmlformats.org/officeDocument/2006/relationships/tags" Target="../tags/tag89.xml"/><Relationship Id="rId52" Type="http://schemas.openxmlformats.org/officeDocument/2006/relationships/image" Target="NULL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tags" Target="../tags/tag72.xml"/><Relationship Id="rId30" Type="http://schemas.openxmlformats.org/officeDocument/2006/relationships/tags" Target="../tags/tag75.xml"/><Relationship Id="rId35" Type="http://schemas.openxmlformats.org/officeDocument/2006/relationships/tags" Target="../tags/tag80.xml"/><Relationship Id="rId43" Type="http://schemas.openxmlformats.org/officeDocument/2006/relationships/tags" Target="../tags/tag88.xml"/><Relationship Id="rId48" Type="http://schemas.openxmlformats.org/officeDocument/2006/relationships/tags" Target="../tags/tag93.xml"/><Relationship Id="rId8" Type="http://schemas.openxmlformats.org/officeDocument/2006/relationships/tags" Target="../tags/tag53.xml"/><Relationship Id="rId51" Type="http://schemas.openxmlformats.org/officeDocument/2006/relationships/oleObject" Target="../embeddings/oleObject5.bin"/><Relationship Id="rId3" Type="http://schemas.openxmlformats.org/officeDocument/2006/relationships/slideLayout" Target="../slideLayouts/slideLayout41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tags" Target="../tags/tag70.xml"/><Relationship Id="rId33" Type="http://schemas.openxmlformats.org/officeDocument/2006/relationships/tags" Target="../tags/tag78.xml"/><Relationship Id="rId38" Type="http://schemas.openxmlformats.org/officeDocument/2006/relationships/tags" Target="../tags/tag83.xml"/><Relationship Id="rId46" Type="http://schemas.openxmlformats.org/officeDocument/2006/relationships/tags" Target="../tags/tag91.xml"/><Relationship Id="rId20" Type="http://schemas.openxmlformats.org/officeDocument/2006/relationships/tags" Target="../tags/tag65.xml"/><Relationship Id="rId41" Type="http://schemas.openxmlformats.org/officeDocument/2006/relationships/tags" Target="../tags/tag86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390" tIns="45695" rIns="91390" bIns="45695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390" tIns="45695" rIns="91390" bIns="4569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8DBDB7-AA23-4B72-A7FB-D7DF747DAFD6}" type="datetimeFigureOut">
              <a:rPr lang="en-US" smtClean="0"/>
              <a:pPr/>
              <a:t>4/2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129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7" r:id="rId12"/>
  </p:sldLayoutIdLst>
  <p:txStyles>
    <p:titleStyle>
      <a:lvl1pPr algn="l" defTabSz="685375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350" indent="-171350" algn="l" defTabSz="68537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049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724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400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077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775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463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150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849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77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75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63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750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449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124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800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477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398" tIns="45702" rIns="91398" bIns="45702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398" tIns="45702" rIns="91398" bIns="4570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398" tIns="45702" rIns="91398" bIns="45702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398" tIns="45702" rIns="91398" bIns="45702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398" tIns="45702" rIns="91398" bIns="45702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3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39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9679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</p:sldLayoutIdLst>
  <p:txStyles>
    <p:titleStyle>
      <a:lvl1pPr algn="l" defTabSz="68542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362" indent="-171362" algn="l" defTabSz="68542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085" indent="-171362" algn="l" defTabSz="68542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787" indent="-171362" algn="l" defTabSz="68542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490" indent="-171362" algn="l" defTabSz="68542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194" indent="-171362" algn="l" defTabSz="68542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916" indent="-171362" algn="l" defTabSz="68542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629" indent="-171362" algn="l" defTabSz="68542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342" indent="-171362" algn="l" defTabSz="68542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065" indent="-171362" algn="l" defTabSz="68542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04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26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39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852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575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277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980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684" algn="l" defTabSz="6854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05982"/>
            <a:ext cx="8229599" cy="857250"/>
          </a:xfrm>
          <a:prstGeom prst="rect">
            <a:avLst/>
          </a:prstGeom>
        </p:spPr>
        <p:txBody>
          <a:bodyPr vert="horz" lIns="119747" tIns="59878" rIns="119747" bIns="5987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6" y="1200155"/>
            <a:ext cx="8229599" cy="3394472"/>
          </a:xfrm>
          <a:prstGeom prst="rect">
            <a:avLst/>
          </a:prstGeom>
        </p:spPr>
        <p:txBody>
          <a:bodyPr vert="horz" lIns="119747" tIns="59878" rIns="119747" bIns="5987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3" y="4767267"/>
            <a:ext cx="2133599" cy="273844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4767267"/>
            <a:ext cx="2895600" cy="273844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99297">
              <a:buClrTx/>
              <a:defRPr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27" y="4767267"/>
            <a:ext cx="2133599" cy="273844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99297">
              <a:buClrTx/>
              <a:defRPr/>
            </a:pPr>
            <a:fld id="{C8FAE728-353B-469A-8C71-9ED453E3CE90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Arial" panose="020B0604020202020204" pitchFamily="34" charset="0"/>
              </a:rPr>
              <a:pPr defTabSz="899297">
                <a:buClrTx/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994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</p:sldLayoutIdLst>
  <p:hf hdr="0" ftr="0" dt="0"/>
  <p:txStyles>
    <p:titleStyle>
      <a:lvl1pPr algn="ctr" defTabSz="89929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7217" indent="-337217" algn="l" defTabSz="89929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0690" indent="-281033" algn="l" defTabSz="89929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24128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73786" indent="-224810" algn="l" defTabSz="89929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23409" indent="-224810" algn="l" defTabSz="89929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73082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22725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72383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22008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659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9297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8976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8598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8257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7896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7575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7196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3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7" y="142512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7" y="57978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7" y="424619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Subtitle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6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26" marR="0" lvl="0" indent="-104726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6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262" marR="0" lvl="0" indent="-466262" algn="l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82054" algn="l"/>
              </a:tabLst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5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5" y="956407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Название документа</a:t>
              </a:r>
            </a:p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5256" y="250882"/>
            <a:ext cx="293798" cy="120033"/>
            <a:chOff x="8406493" y="285750"/>
            <a:chExt cx="334282" cy="15685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6493" y="285750"/>
              <a:ext cx="334282" cy="1568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6493" y="285750"/>
              <a:ext cx="0" cy="15685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6493" y="442607"/>
              <a:ext cx="33428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rtlCol="0" anchor="ctr"/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0" y="208419"/>
            <a:ext cx="1024268" cy="591017"/>
            <a:chOff x="7607284" y="279400"/>
            <a:chExt cx="1003820" cy="77233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279400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546100"/>
              <a:ext cx="441845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825499"/>
              <a:ext cx="441845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1" y="208508"/>
            <a:ext cx="710019" cy="795107"/>
            <a:chOff x="5894005" y="919828"/>
            <a:chExt cx="695844" cy="1039039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919828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189703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461166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732630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6" y="209202"/>
            <a:ext cx="778053" cy="1014989"/>
            <a:chOff x="5894005" y="2696542"/>
            <a:chExt cx="762520" cy="132637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696542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2974156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248595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521448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796682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2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ctr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6" y="1298533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73" tIns="55073" rIns="55073" bIns="55073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3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73" tIns="55073" rIns="55073" bIns="55073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2" y="3393621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73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61280" y="2305847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73" tIns="55073" rIns="55073" bIns="55073" anchor="ctr"/>
          <a:lstStyle/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6080469" y="2653958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08" tIns="45704" rIns="91408" bIns="45704" rtlCol="0" anchor="ctr"/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6519452" y="2653962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033152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73" tIns="55073" rIns="55073" bIns="550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4542840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1988063" y="2653947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496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4034260" y="2653947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496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496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94" name="Slide Number">
            <a:extLst>
              <a:ext uri="{FF2B5EF4-FFF2-40B4-BE49-F238E27FC236}">
                <a16:creationId xmlns:a16="http://schemas.microsoft.com/office/drawing/2014/main" id="{5ACF2D16-0816-4476-AF9D-E91FA22184C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76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8373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hf hdr="0" ftr="0" dt="0"/>
  <p:txStyles>
    <p:titleStyle>
      <a:lvl1pPr algn="l" defTabSz="684833" rtl="0" eaLnBrk="1" fontAlgn="base" hangingPunct="1">
        <a:spcBef>
          <a:spcPct val="0"/>
        </a:spcBef>
        <a:spcAft>
          <a:spcPct val="0"/>
        </a:spcAft>
        <a:tabLst>
          <a:tab pos="206423" algn="l"/>
        </a:tabLst>
        <a:defRPr sz="1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9697"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9395"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9106"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98803"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8148" indent="-146933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100" baseline="0">
          <a:solidFill>
            <a:schemeClr val="tx1"/>
          </a:solidFill>
          <a:latin typeface="+mn-lt"/>
        </a:defRPr>
      </a:lvl2pPr>
      <a:lvl3pPr marL="349697" indent="-20035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69907" indent="-118995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100" baseline="0">
          <a:solidFill>
            <a:schemeClr val="tx1"/>
          </a:solidFill>
          <a:latin typeface="+mn-lt"/>
        </a:defRPr>
      </a:lvl4pPr>
      <a:lvl5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697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395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9106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8803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8507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8205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7909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7606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pKleurvlakOnder"/>
          <p:cNvSpPr/>
          <p:nvPr/>
        </p:nvSpPr>
        <p:spPr>
          <a:xfrm>
            <a:off x="0" y="4738687"/>
            <a:ext cx="9144000" cy="404813"/>
          </a:xfrm>
          <a:prstGeom prst="rect">
            <a:avLst/>
          </a:prstGeom>
          <a:solidFill>
            <a:srgbClr val="046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9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051" name="shpTeks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1350169"/>
            <a:ext cx="8229600" cy="3311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smtClean="0"/>
              <a:t>Klik om de opmaakprofielen van de modeltekst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</p:txBody>
      </p:sp>
      <p:sp>
        <p:nvSpPr>
          <p:cNvPr id="1028" name="shpDatum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486276" y="4905375"/>
            <a:ext cx="4157663" cy="245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750" spc="-8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nl-NL" kern="1200"/>
          </a:p>
        </p:txBody>
      </p:sp>
      <p:sp>
        <p:nvSpPr>
          <p:cNvPr id="1029" name="shpVoettekst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478338" y="4789885"/>
            <a:ext cx="4165600" cy="23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750" spc="-8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en-US" kern="1200" smtClean="0"/>
              <a:t>Spending Reviews in The Netherlands</a:t>
            </a:r>
            <a:endParaRPr lang="nl-NL" kern="1200"/>
          </a:p>
        </p:txBody>
      </p:sp>
      <p:sp>
        <p:nvSpPr>
          <p:cNvPr id="1030" name="shpPagina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74650" y="4783931"/>
            <a:ext cx="712788" cy="272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750" spc="-8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61C050A5-6120-407B-9D7B-05AEA3ABFE74}" type="slidenum">
              <a:rPr lang="nl-NL" kern="1200" smtClean="0"/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‹#›</a:t>
            </a:fld>
            <a:endParaRPr lang="nl-NL" kern="1200"/>
          </a:p>
        </p:txBody>
      </p:sp>
      <p:sp>
        <p:nvSpPr>
          <p:cNvPr id="1026" name="shpTitel"/>
          <p:cNvSpPr>
            <a:spLocks noGrp="1" noChangeArrowheads="1"/>
          </p:cNvSpPr>
          <p:nvPr>
            <p:ph type="title"/>
          </p:nvPr>
        </p:nvSpPr>
        <p:spPr bwMode="auto">
          <a:xfrm>
            <a:off x="352425" y="947738"/>
            <a:ext cx="8229600" cy="4286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 smtClean="0"/>
              <a:t>Klik om het opmaakprofiel te bewerken</a:t>
            </a:r>
          </a:p>
        </p:txBody>
      </p:sp>
      <p:sp>
        <p:nvSpPr>
          <p:cNvPr id="17" name="shpKleurvlakBoven"/>
          <p:cNvSpPr/>
          <p:nvPr/>
        </p:nvSpPr>
        <p:spPr>
          <a:xfrm>
            <a:off x="0" y="1"/>
            <a:ext cx="9144000" cy="803672"/>
          </a:xfrm>
          <a:prstGeom prst="rect">
            <a:avLst/>
          </a:prstGeom>
          <a:solidFill>
            <a:srgbClr val="046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9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pic>
        <p:nvPicPr>
          <p:cNvPr id="2057" name="shpBeeldmerk" descr="RO__vervolgpagina~LPPT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91440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62949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50" spc="-45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50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50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50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50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cs typeface="Arial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cs typeface="Arial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cs typeface="Arial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134541" indent="-134541" algn="l" rtl="0" eaLnBrk="0" fontAlgn="base" hangingPunct="0">
        <a:spcBef>
          <a:spcPct val="20000"/>
        </a:spcBef>
        <a:spcAft>
          <a:spcPct val="0"/>
        </a:spcAft>
        <a:buBlip>
          <a:blip r:embed="rId10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283369" indent="-188119" algn="l" rtl="0" eaLnBrk="0" fontAlgn="base" hangingPunct="0">
        <a:spcBef>
          <a:spcPct val="20000"/>
        </a:spcBef>
        <a:spcAft>
          <a:spcPct val="0"/>
        </a:spcAft>
        <a:buBlip>
          <a:blip r:embed="rId11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404813" indent="-107156" algn="l" rtl="0" eaLnBrk="0" fontAlgn="base" hangingPunct="0">
        <a:spcBef>
          <a:spcPct val="20000"/>
        </a:spcBef>
        <a:spcAft>
          <a:spcPct val="0"/>
        </a:spcAft>
        <a:buBlip>
          <a:blip r:embed="rId12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533400" indent="-132160" algn="l" rtl="0" eaLnBrk="0" fontAlgn="base" hangingPunct="0">
        <a:spcBef>
          <a:spcPct val="20000"/>
        </a:spcBef>
        <a:spcAft>
          <a:spcPct val="0"/>
        </a:spcAft>
        <a:defRPr lang="nl-NL" kern="1200" dirty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3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7" y="142512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7" y="57978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7" y="424619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t>Subtitle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Arial"/>
              <a:sym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6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26" marR="0" lvl="0" indent="-104726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6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262" marR="0" lvl="0" indent="-466262" algn="l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82054" algn="l"/>
              </a:tabLst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5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5" y="956407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Название документа</a:t>
              </a:r>
            </a:p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5256" y="250882"/>
            <a:ext cx="293798" cy="120033"/>
            <a:chOff x="8406493" y="285750"/>
            <a:chExt cx="334282" cy="15685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6493" y="285750"/>
              <a:ext cx="334282" cy="1568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6493" y="285750"/>
              <a:ext cx="0" cy="15685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6493" y="442607"/>
              <a:ext cx="33428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rtlCol="0" anchor="ctr"/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  <a:sym typeface="Arial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0" y="208419"/>
            <a:ext cx="1024268" cy="591017"/>
            <a:chOff x="7607284" y="279400"/>
            <a:chExt cx="1003820" cy="77233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279400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546100"/>
              <a:ext cx="441845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825499"/>
              <a:ext cx="441845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1" y="208508"/>
            <a:ext cx="710019" cy="795107"/>
            <a:chOff x="5894005" y="919828"/>
            <a:chExt cx="695844" cy="1039039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919828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189703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461166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732630"/>
              <a:ext cx="441844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6" y="209202"/>
            <a:ext cx="778053" cy="1014989"/>
            <a:chOff x="5894005" y="2696542"/>
            <a:chExt cx="762520" cy="132637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01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696542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974156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248595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521448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796682"/>
              <a:ext cx="441845" cy="22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2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ctr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6" y="1298533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73" tIns="55073" rIns="55073" bIns="55073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3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73" tIns="55073" rIns="55073" bIns="55073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2" y="3393621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73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49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6061280" y="2305847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73" tIns="55073" rIns="55073" bIns="55073" anchor="ctr"/>
          <a:lstStyle/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/>
              <a:sym typeface="Arial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6080469" y="2653958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08" tIns="45704" rIns="91408" bIns="45704" rtlCol="0" anchor="ctr"/>
          <a:lstStyle/>
          <a:p>
            <a:pPr marL="0" marR="0" lvl="0" indent="0" algn="ctr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  <a:sym typeface="Arial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6519452" y="2653962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  <a:sym typeface="Arial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  <a:sym typeface="Arial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033152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73" tIns="55073" rIns="55073" bIns="550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4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Arial"/>
              <a:sym typeface="Arial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4542840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/>
                <a:sym typeface="Arial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4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/>
                <a:sym typeface="Arial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gray">
          <a:xfrm>
            <a:off x="1988063" y="2653947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  <a:sym typeface="Arial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496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4034260" y="2653947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  <a:sym typeface="Arial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496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  <a:sym typeface="Arial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496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Arial"/>
                  <a:sym typeface="Arial"/>
                </a:rPr>
                <a:t>Text</a:t>
              </a:r>
            </a:p>
          </p:txBody>
        </p:sp>
      </p:grpSp>
      <p:sp>
        <p:nvSpPr>
          <p:cNvPr id="94" name="Slide Number">
            <a:extLst>
              <a:ext uri="{FF2B5EF4-FFF2-40B4-BE49-F238E27FC236}">
                <a16:creationId xmlns:a16="http://schemas.microsoft.com/office/drawing/2014/main" id="{5ACF2D16-0816-4476-AF9D-E91FA22184C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76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0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Arial"/>
                <a:sym typeface="Arial"/>
              </a:rPr>
              <a:pPr marL="0" marR="0" lvl="0" indent="0" algn="l" defTabSz="91401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563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</p:sldLayoutIdLst>
  <p:hf hdr="0" ftr="0" dt="0"/>
  <p:txStyles>
    <p:titleStyle>
      <a:lvl1pPr algn="l" defTabSz="684833" rtl="0" eaLnBrk="1" fontAlgn="base" hangingPunct="1">
        <a:spcBef>
          <a:spcPct val="0"/>
        </a:spcBef>
        <a:spcAft>
          <a:spcPct val="0"/>
        </a:spcAft>
        <a:tabLst>
          <a:tab pos="206423" algn="l"/>
        </a:tabLst>
        <a:defRPr sz="1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9697"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9395"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9106"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98803" algn="l" defTabSz="684833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8148" indent="-146933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100" baseline="0">
          <a:solidFill>
            <a:schemeClr val="tx1"/>
          </a:solidFill>
          <a:latin typeface="+mn-lt"/>
        </a:defRPr>
      </a:lvl2pPr>
      <a:lvl3pPr marL="349697" indent="-20035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69907" indent="-118995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100" baseline="0">
          <a:solidFill>
            <a:schemeClr val="tx1"/>
          </a:solidFill>
          <a:latin typeface="+mn-lt"/>
        </a:defRPr>
      </a:lvl4pPr>
      <a:lvl5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515" indent="-99560" algn="l" defTabSz="6848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697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395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9106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8803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8507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8205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7909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7606" algn="l" defTabSz="69939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>
              <a:buClrTx/>
            </a:pPr>
            <a:fld id="{64EA4406-2500-48BF-816B-534CE458B3DC}" type="datetime1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26.04.2023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>
              <a:buClrTx/>
            </a:pPr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>
              <a:buClrTx/>
            </a:pPr>
            <a:fld id="{83CD61AD-231B-40D6-87E9-736DD9EF3134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378">
                <a:buClrTx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7658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</p:sldLayoutIdLst>
  <p:hf hdr="0" ftr="0" dt="0"/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390" tIns="45695" rIns="91390" bIns="45695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390" tIns="45695" rIns="91390" bIns="4569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5151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</p:sldLayoutIdLst>
  <p:txStyles>
    <p:titleStyle>
      <a:lvl1pPr algn="l" defTabSz="685375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350" indent="-171350" algn="l" defTabSz="685375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049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724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400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077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775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463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150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849" indent="-171350" algn="l" defTabSz="685375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77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75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63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750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449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124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800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477" algn="l" defTabSz="68537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05982"/>
            <a:ext cx="8229599" cy="857250"/>
          </a:xfrm>
          <a:prstGeom prst="rect">
            <a:avLst/>
          </a:prstGeom>
        </p:spPr>
        <p:txBody>
          <a:bodyPr vert="horz" lIns="119747" tIns="59878" rIns="119747" bIns="5987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6" y="1200155"/>
            <a:ext cx="8229599" cy="3394472"/>
          </a:xfrm>
          <a:prstGeom prst="rect">
            <a:avLst/>
          </a:prstGeom>
        </p:spPr>
        <p:txBody>
          <a:bodyPr vert="horz" lIns="119747" tIns="59878" rIns="119747" bIns="5987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3" y="4767267"/>
            <a:ext cx="2133599" cy="273844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4767267"/>
            <a:ext cx="2895600" cy="273844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27" y="4767267"/>
            <a:ext cx="2133599" cy="273844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C8FAE728-353B-469A-8C71-9ED453E3CE9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6940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892" r:id="rId14"/>
  </p:sldLayoutIdLst>
  <p:hf hdr="0" ftr="0" dt="0"/>
  <p:txStyles>
    <p:titleStyle>
      <a:lvl1pPr algn="ctr" defTabSz="89929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7217" indent="-337217" algn="l" defTabSz="89929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0690" indent="-281033" algn="l" defTabSz="89929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24128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73786" indent="-224810" algn="l" defTabSz="89929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23409" indent="-224810" algn="l" defTabSz="89929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73082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22725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72383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22008" indent="-224810" algn="l" defTabSz="89929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659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9297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8976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8598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8257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7896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7575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97196" algn="l" defTabSz="8992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121869" tIns="60934" rIns="121869" bIns="60934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121869" tIns="60934" rIns="121869" bIns="6093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121869" tIns="60934" rIns="121869" bIns="6093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6855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68DBDB7-AA23-4B72-A7FB-D7DF747DAFD6}" type="datetimeFigureOut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6855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/26/2023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121869" tIns="60934" rIns="121869" bIns="60934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6855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121869" tIns="60934" rIns="121869" bIns="60934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6855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6855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3736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</p:sldLayoutIdLst>
  <p:txStyles>
    <p:titleStyle>
      <a:lvl1pPr algn="l" defTabSz="685511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382" indent="-171382" algn="l" defTabSz="68551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145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892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640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389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151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907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662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425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49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11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67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022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85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532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80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029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emf"/><Relationship Id="rId3" Type="http://schemas.openxmlformats.org/officeDocument/2006/relationships/customXml" Target="../ink/ink1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66.xml"/><Relationship Id="rId1" Type="http://schemas.openxmlformats.org/officeDocument/2006/relationships/tags" Target="../tags/tag109.xml"/><Relationship Id="rId11" Type="http://schemas.openxmlformats.org/officeDocument/2006/relationships/customXml" Target="../ink/ink3.xml"/><Relationship Id="rId10" Type="http://schemas.openxmlformats.org/officeDocument/2006/relationships/image" Target="../media/image3.emf"/><Relationship Id="rId9" Type="http://schemas.openxmlformats.org/officeDocument/2006/relationships/customXml" Target="../ink/ink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79916" y="1777598"/>
            <a:ext cx="7593917" cy="848185"/>
          </a:xfrm>
        </p:spPr>
        <p:txBody>
          <a:bodyPr>
            <a:noAutofit/>
          </a:bodyPr>
          <a:lstStyle/>
          <a:p>
            <a:pPr defTabSz="827360">
              <a:defRPr sz="1800"/>
            </a:pPr>
            <a:r>
              <a:rPr lang="ru-RU" sz="27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 вопросах </a:t>
            </a:r>
            <a:r>
              <a:rPr lang="ru-RU" sz="27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юджетной политики</a:t>
            </a:r>
            <a:endParaRPr lang="ru-RU" sz="2700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ubtitle 3"/>
          <p:cNvSpPr>
            <a:spLocks noGrp="1"/>
          </p:cNvSpPr>
          <p:nvPr>
            <p:ph type="subTitle" idx="1"/>
          </p:nvPr>
        </p:nvSpPr>
        <p:spPr>
          <a:xfrm>
            <a:off x="1654" y="4855735"/>
            <a:ext cx="9150412" cy="291662"/>
          </a:xfrm>
          <a:solidFill>
            <a:schemeClr val="accent5">
              <a:lumMod val="40000"/>
              <a:lumOff val="60000"/>
            </a:schemeClr>
          </a:solidFill>
        </p:spPr>
        <p:txBody>
          <a:bodyPr vert="horz" wrap="square" lIns="89799" tIns="0" rIns="89799" bIns="44899" rtlCol="0">
            <a:spAutoFit/>
          </a:bodyPr>
          <a:lstStyle/>
          <a:p>
            <a:r>
              <a:rPr lang="kk-KZ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рель, </a:t>
            </a:r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 год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654" y="0"/>
            <a:ext cx="9150412" cy="2916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89799" tIns="0" rIns="89799" bIns="44899">
            <a:spAutoFit/>
          </a:bodyPr>
          <a:lstStyle/>
          <a:p>
            <a:pPr algn="ctr" defTabSz="899297">
              <a:buClrTx/>
              <a:defRPr/>
            </a:pPr>
            <a:r>
              <a:rPr lang="kk-KZ" sz="16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нистерство национальной экономики Республики Казахстан</a:t>
            </a:r>
            <a:endParaRPr lang="ru-RU" sz="1600" b="1" kern="12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42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DDBCB5-AEDB-67CD-268E-E93C742EDE61}"/>
              </a:ext>
            </a:extLst>
          </p:cNvPr>
          <p:cNvSpPr txBox="1"/>
          <p:nvPr/>
        </p:nvSpPr>
        <p:spPr bwMode="auto">
          <a:xfrm>
            <a:off x="1251584" y="2254655"/>
            <a:ext cx="6640833" cy="400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8" tIns="45694" rIns="91388" bIns="45694">
            <a:spAutoFit/>
          </a:bodyPr>
          <a:lstStyle/>
          <a:p>
            <a:pPr lvl="0" algn="ctr">
              <a:buClr>
                <a:schemeClr val="dk1"/>
              </a:buClr>
              <a:buSzPts val="1100"/>
            </a:pPr>
            <a:r>
              <a:rPr lang="ru-RU" sz="2000" b="1" kern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ополнительные материалы</a:t>
            </a:r>
            <a:endParaRPr lang="ru-RU" sz="2000" b="1" kern="12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8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26303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57954" y="415329"/>
            <a:ext cx="5630405" cy="4475338"/>
            <a:chOff x="85901" y="855996"/>
            <a:chExt cx="5580361" cy="4188258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85901" y="855996"/>
              <a:ext cx="5580360" cy="263360"/>
            </a:xfrm>
            <a:prstGeom prst="rect">
              <a:avLst/>
            </a:prstGeom>
            <a:noFill/>
            <a:ln>
              <a:solidFill>
                <a:sysClr val="window" lastClr="FFFFFF">
                  <a:lumMod val="50000"/>
                </a:sysClr>
              </a:solidFill>
              <a:prstDash val="solid"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11993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пределение в составе расходов бюджета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лок</a:t>
              </a:r>
              <a:r>
                <a:rPr kumimoji="0" lang="kk-K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в по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: 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080" y="1200950"/>
              <a:ext cx="2014795" cy="673474"/>
            </a:xfrm>
            <a:prstGeom prst="rect">
              <a:avLst/>
            </a:prstGeom>
            <a:noFill/>
            <a:ln>
              <a:solidFill>
                <a:srgbClr val="4BACC6">
                  <a:lumMod val="50000"/>
                </a:srgbClr>
              </a:solidFill>
              <a:prstDash val="solid"/>
            </a:ln>
          </p:spPr>
          <p:txBody>
            <a:bodyPr wrap="square" rtlCol="0">
              <a:spAutoFit/>
            </a:bodyPr>
            <a:lstStyle/>
            <a:p>
              <a:pPr marL="228378" marR="0" lvl="0" indent="-228378" algn="l" defTabSz="11993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езусловные базовые расходы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стоянного характера, формируемые по перечню МФ 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112542" y="2768429"/>
              <a:ext cx="2014795" cy="1171259"/>
            </a:xfrm>
            <a:prstGeom prst="rect">
              <a:avLst/>
            </a:prstGeom>
            <a:noFill/>
            <a:ln>
              <a:solidFill>
                <a:srgbClr val="4BACC6">
                  <a:lumMod val="50000"/>
                </a:srgbClr>
              </a:solidFill>
              <a:prstDash val="solid"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11993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2.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Расходы на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овые инициативы:</a:t>
              </a:r>
            </a:p>
            <a:p>
              <a:pPr marL="171302" marR="0" lvl="0" indent="-171302" algn="l" defTabSz="11993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огл. ст. 5 </a:t>
              </a:r>
              <a:r>
                <a:rPr kumimoji="0" lang="kk-K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овые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инимаемые обязательства</a:t>
              </a:r>
            </a:p>
            <a:p>
              <a:pPr marL="171302" marR="0" lvl="0" indent="-171302" algn="l" defTabSz="11993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величение безусловных базовых расходов в рамках существующих </a:t>
              </a: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ных программ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89649" y="4341498"/>
              <a:ext cx="2011047" cy="584775"/>
            </a:xfrm>
            <a:prstGeom prst="rect">
              <a:avLst/>
            </a:prstGeom>
            <a:noFill/>
            <a:ln>
              <a:solidFill>
                <a:srgbClr val="4BACC6">
                  <a:lumMod val="50000"/>
                </a:srgbClr>
              </a:solidFill>
              <a:prstDash val="solid"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11993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3.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Формирование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зерва на инициативы Президента и резерва Правительства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187868" y="1201879"/>
              <a:ext cx="3478394" cy="1368160"/>
            </a:xfrm>
            <a:prstGeom prst="rect">
              <a:avLst/>
            </a:prstGeom>
            <a:noFill/>
            <a:ln>
              <a:solidFill>
                <a:sysClr val="window" lastClr="FFFFFF">
                  <a:lumMod val="50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обенности: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становление стабильных лимитов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 3 года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/>
              </a:r>
              <a:b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о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1 мая до окончания действующих лимитов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ежегодно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овая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ная программа с расчетами и обоснованиями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е составляется при соблюдении лимита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ежегодно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полномоченный орган по бюджетному планированию (МФ)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ссматривает их на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оответствие лимитам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через ИСБП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187867" y="2768428"/>
              <a:ext cx="3472265" cy="951648"/>
            </a:xfrm>
            <a:prstGeom prst="rect">
              <a:avLst/>
            </a:prstGeom>
            <a:noFill/>
            <a:ln>
              <a:solidFill>
                <a:sysClr val="window" lastClr="FFFFFF">
                  <a:lumMod val="50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обенности: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становление лимитов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ежегодно до 7 июня 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ежегодно бюджетная программа с расчетами и обоснованиями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е составляется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отдельным расходам, где сумма второго и третьего годов по сравнению с утвержденным бюджетом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е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еняется</a:t>
              </a:r>
              <a:endPara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2204688" y="4341498"/>
              <a:ext cx="3455444" cy="702756"/>
            </a:xfrm>
            <a:prstGeom prst="rect">
              <a:avLst/>
            </a:prstGeom>
            <a:noFill/>
            <a:ln>
              <a:solidFill>
                <a:sysClr val="window" lastClr="FFFFFF">
                  <a:lumMod val="50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обенности: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перативность в выполнении поручений Главы государства (2% от расходов РБ) и непредвиденных задач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ru-RU" sz="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5688359" y="415329"/>
            <a:ext cx="2908961" cy="276817"/>
          </a:xfrm>
          <a:prstGeom prst="rect">
            <a:avLst/>
          </a:prstGeom>
          <a:noFill/>
        </p:spPr>
        <p:txBody>
          <a:bodyPr wrap="square" lIns="91261" tIns="45630" rIns="91261" bIns="45630" rtlCol="0">
            <a:spAutoFit/>
          </a:bodyPr>
          <a:lstStyle>
            <a:defPPr>
              <a:defRPr lang="ru-RU"/>
            </a:defPPr>
            <a:lvl1pPr>
              <a:defRPr sz="1000" b="1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marL="0" marR="0" lvl="0" indent="0" algn="ctr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Гибкость/самостоятельность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5688359" y="775575"/>
            <a:ext cx="3262418" cy="1592562"/>
          </a:xfrm>
          <a:prstGeom prst="rect">
            <a:avLst/>
          </a:prstGeom>
        </p:spPr>
        <p:txBody>
          <a:bodyPr wrap="square" lIns="91261" tIns="45630" rIns="91261" bIns="45630">
            <a:spAutoFit/>
          </a:bodyPr>
          <a:lstStyle/>
          <a:p>
            <a:pPr marL="171302" marR="0" lvl="0" indent="-17130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ерераспределение бюджетных средств:</a:t>
            </a:r>
          </a:p>
          <a:p>
            <a:pPr marL="515393" marR="0" lvl="1" indent="-17130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амостоятельно АБП в рамках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дной бюджетной программы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 порядке, определяемом МФ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(за исключением средств Нацфонда)</a:t>
            </a:r>
          </a:p>
          <a:p>
            <a:pPr marL="515393" marR="0" lvl="1" indent="-17130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между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бюджетными программами в размере 15%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о решению РБК</a:t>
            </a:r>
          </a:p>
          <a:p>
            <a:pPr marL="171302" marR="0" lvl="0" indent="-17130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озможность переносить остатки средств  по итогам года по решению РБК</a:t>
            </a:r>
          </a:p>
        </p:txBody>
      </p:sp>
      <p:sp>
        <p:nvSpPr>
          <p:cNvPr id="30" name="Стрелка вниз 29"/>
          <p:cNvSpPr/>
          <p:nvPr/>
        </p:nvSpPr>
        <p:spPr>
          <a:xfrm>
            <a:off x="6901143" y="661368"/>
            <a:ext cx="562409" cy="107344"/>
          </a:xfrm>
          <a:prstGeom prst="downArrow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231" tIns="45615" rIns="91231" bIns="45615" rtlCol="0" anchor="ctr"/>
          <a:lstStyle/>
          <a:p>
            <a:pPr marL="0" marR="0" lvl="0" indent="0" algn="ctr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928649" y="2355925"/>
            <a:ext cx="2781838" cy="461483"/>
          </a:xfrm>
          <a:prstGeom prst="rect">
            <a:avLst/>
          </a:prstGeom>
          <a:noFill/>
        </p:spPr>
        <p:txBody>
          <a:bodyPr wrap="square" lIns="91261" tIns="45630" rIns="91261" bIns="45630" rtlCol="0">
            <a:spAutoFit/>
          </a:bodyPr>
          <a:lstStyle/>
          <a:p>
            <a:pPr marL="0" marR="0" lvl="0" indent="0" algn="ctr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Упрощение /сокращение 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бюджетных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оцедур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655265" y="2835088"/>
            <a:ext cx="3386889" cy="2108088"/>
          </a:xfrm>
          <a:prstGeom prst="rect">
            <a:avLst/>
          </a:prstGeom>
        </p:spPr>
        <p:txBody>
          <a:bodyPr wrap="square" lIns="91261" tIns="45630" rIns="91261" bIns="45630">
            <a:spAutoFit/>
          </a:bodyPr>
          <a:lstStyle/>
          <a:p>
            <a:pPr marL="171302" marR="0" lvl="0" indent="-17130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kk-KZ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окращение процедур согласования и утверждения/уточнения планов развити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я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 связи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/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 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упразднением процедуры приведения в соответствие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целевых индикаторов под выделенный бюджет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/>
            </a:r>
            <a:b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</a:b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дновременным усилением требований к его содержанию и рассмотрением ответственности первого руководителя за полноту и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качество целевых индикаторов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302" marR="0" lvl="0" indent="-17130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птимизация документов планирования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(интеграция бюджетной заявки в бюджетную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ограмму с упразднением процедуры согласования с госорганами)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302" marR="0" lvl="0" indent="-17130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Усиление роли и ответственности руководителя бюджетной программы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 связи с упрощением процедур согласования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5BE610-FC5B-CE3B-EDD9-C1C1A5D083C3}"/>
              </a:ext>
            </a:extLst>
          </p:cNvPr>
          <p:cNvSpPr txBox="1"/>
          <p:nvPr/>
        </p:nvSpPr>
        <p:spPr>
          <a:xfrm>
            <a:off x="0" y="47575"/>
            <a:ext cx="91439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1. Внедрение элементов блочного бюджета со значительным расширением полномочий и ответственности АБП</a:t>
            </a:r>
          </a:p>
        </p:txBody>
      </p:sp>
      <p:sp>
        <p:nvSpPr>
          <p:cNvPr id="19" name="Стрелка вниз 18"/>
          <p:cNvSpPr/>
          <p:nvPr/>
        </p:nvSpPr>
        <p:spPr>
          <a:xfrm>
            <a:off x="6901143" y="2774083"/>
            <a:ext cx="562409" cy="107344"/>
          </a:xfrm>
          <a:prstGeom prst="downArrow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231" tIns="45615" rIns="91231" bIns="45615" rtlCol="0" anchor="ctr"/>
          <a:lstStyle/>
          <a:p>
            <a:pPr marL="0" marR="0" lvl="0" indent="0" algn="ctr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086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1"/>
          <p:cNvSpPr txBox="1">
            <a:spLocks/>
          </p:cNvSpPr>
          <p:nvPr/>
        </p:nvSpPr>
        <p:spPr>
          <a:xfrm>
            <a:off x="0" y="60256"/>
            <a:ext cx="8131168" cy="280938"/>
          </a:xfrm>
          <a:prstGeom prst="rect">
            <a:avLst/>
          </a:prstGeom>
          <a:noFill/>
        </p:spPr>
        <p:txBody>
          <a:bodyPr vert="horz" lIns="119768" tIns="59888" rIns="119768" bIns="59888" rtlCol="0">
            <a:noAutofit/>
          </a:bodyPr>
          <a:lstStyle>
            <a:lvl1pPr marL="0" indent="0" algn="l" defTabSz="900130" rtl="0" eaLnBrk="1" latinLnBrk="0" hangingPunct="1">
              <a:spcBef>
                <a:spcPts val="0"/>
              </a:spcBef>
              <a:spcAft>
                <a:spcPts val="204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356" indent="-281292" algn="l" defTabSz="9001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77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5164" indent="-225032" algn="l" defTabSz="9001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5229" indent="-225032" algn="l" defTabSz="90013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9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25296" indent="-225032" algn="l" defTabSz="90013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9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5361" indent="-225032" algn="l" defTabSz="9001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5426" indent="-225032" algn="l" defTabSz="9001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5492" indent="-225032" algn="l" defTabSz="9001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5559" indent="-225032" algn="l" defTabSz="90013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748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Элементы БЛОЧНОГО БЮДЖЕТА в межбюджетных отношениях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6011" y="481799"/>
            <a:ext cx="8602900" cy="246033"/>
          </a:xfrm>
          <a:prstGeom prst="rect">
            <a:avLst/>
          </a:prstGeom>
          <a:noFill/>
        </p:spPr>
        <p:txBody>
          <a:bodyPr wrap="square" lIns="91225" tIns="45612" rIns="91225" bIns="45612" rtlCol="0">
            <a:spAutoFit/>
          </a:bodyPr>
          <a:lstStyle/>
          <a:p>
            <a:pPr marL="171330" marR="0" lvl="0" indent="-171330" algn="l" defTabSz="6899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овершенствование планирования трансфертов общего характера и целевых текущих трансфертов и трансфертов на развитие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812804" y="69377"/>
            <a:ext cx="1148316" cy="276813"/>
          </a:xfrm>
          <a:prstGeom prst="rect">
            <a:avLst/>
          </a:prstGeom>
          <a:noFill/>
        </p:spPr>
        <p:txBody>
          <a:bodyPr wrap="square" lIns="91225" tIns="45612" rIns="91225" bIns="45612" rtlCol="0">
            <a:spAutoFit/>
          </a:bodyPr>
          <a:lstStyle/>
          <a:p>
            <a:pPr marL="0" marR="0" lvl="0" indent="0" algn="l" defTabSz="914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k-KZ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rPr>
              <a:t>продолжение</a:t>
            </a: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86012" y="815095"/>
            <a:ext cx="8931896" cy="3974882"/>
            <a:chOff x="104048" y="702588"/>
            <a:chExt cx="8862344" cy="3939283"/>
          </a:xfrm>
        </p:grpSpPr>
        <p:sp>
          <p:nvSpPr>
            <p:cNvPr id="21" name="Стрелка вниз 20"/>
            <p:cNvSpPr/>
            <p:nvPr/>
          </p:nvSpPr>
          <p:spPr>
            <a:xfrm>
              <a:off x="3777285" y="1182062"/>
              <a:ext cx="473693" cy="135515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68558" tIns="34279" rIns="68558" bIns="34279" rtlCol="0" anchor="ctr"/>
            <a:lstStyle/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686414" y="702588"/>
              <a:ext cx="2693826" cy="400110"/>
            </a:xfrm>
            <a:prstGeom prst="rect">
              <a:avLst/>
            </a:prstGeom>
            <a:noFill/>
            <a:ln>
              <a:solidFill>
                <a:schemeClr val="accent1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обенности планирования </a:t>
              </a:r>
              <a:b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а развития МИО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endPara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2663679" y="1338654"/>
              <a:ext cx="2733333" cy="1477329"/>
            </a:xfrm>
            <a:prstGeom prst="rect">
              <a:avLst/>
            </a:prstGeom>
            <a:ln>
              <a:solidFill>
                <a:sysClr val="window" lastClr="FFFFFF">
                  <a:lumMod val="50000"/>
                </a:sysClr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marL="0" marR="0" lvl="0" indent="0" algn="just" defTabSz="8994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азируется на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е минимальных стандартов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: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330" marR="0" lvl="0" indent="-171330" algn="just" defTabSz="8994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оциальные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имеется соответствующий закон, разработан в 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2015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ду. Отраслевые министерства приняли соответствующие нормативы сетей)</a:t>
              </a:r>
            </a:p>
            <a:p>
              <a:pPr marL="171330" marR="0" lvl="0" indent="-171330" algn="just" defTabSz="8994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нженерно-коммуникационной, транспортной инфраструктур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предлагается разработать с учетом ревизии  нормативов сетей)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2663679" y="2979182"/>
              <a:ext cx="2733333" cy="646331"/>
            </a:xfrm>
            <a:prstGeom prst="rect">
              <a:avLst/>
            </a:prstGeom>
            <a:ln>
              <a:solidFill>
                <a:sysClr val="window" lastClr="FFFFFF">
                  <a:lumMod val="50000"/>
                </a:sysClr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marL="0" marR="0" lvl="0" indent="0" algn="just" defTabSz="8994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гиональных стандартов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ля населенных пунктов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пределяет уровень обеспеченности регионов услугами и инфраструктурой (разработчик МНЭ) </a:t>
              </a:r>
            </a:p>
          </p:txBody>
        </p:sp>
        <p:sp>
          <p:nvSpPr>
            <p:cNvPr id="25" name="Стрелка вниз 24"/>
            <p:cNvSpPr/>
            <p:nvPr/>
          </p:nvSpPr>
          <p:spPr>
            <a:xfrm>
              <a:off x="3743317" y="2825953"/>
              <a:ext cx="491158" cy="117835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68558" tIns="34279" rIns="68558" bIns="34279" rtlCol="0" anchor="ctr"/>
            <a:lstStyle/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Стрелка вниз 25"/>
            <p:cNvSpPr/>
            <p:nvPr/>
          </p:nvSpPr>
          <p:spPr>
            <a:xfrm>
              <a:off x="3738317" y="3690610"/>
              <a:ext cx="504700" cy="125657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68558" tIns="34279" rIns="68558" bIns="34279" rtlCol="0" anchor="ctr"/>
            <a:lstStyle/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2684107" y="3849349"/>
              <a:ext cx="2733333" cy="784830"/>
            </a:xfrm>
            <a:prstGeom prst="rect">
              <a:avLst/>
            </a:prstGeom>
            <a:ln>
              <a:solidFill>
                <a:sysClr val="window" lastClr="FFFFFF">
                  <a:lumMod val="50000"/>
                </a:sysClr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marL="0" marR="0" lvl="0" indent="0" algn="just" defTabSz="8994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етодика расчета расходов бюджета развития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отраслям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дорога, вода, теплоснабжение и др.) по аналогии методике по дорогам </a:t>
              </a: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отраслевые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инистерства совместно с МНЭ и МФ)</a:t>
              </a:r>
            </a:p>
          </p:txBody>
        </p:sp>
        <p:sp>
          <p:nvSpPr>
            <p:cNvPr id="15" name="Стрелка вниз 14"/>
            <p:cNvSpPr/>
            <p:nvPr/>
          </p:nvSpPr>
          <p:spPr>
            <a:xfrm>
              <a:off x="1083238" y="1185893"/>
              <a:ext cx="429974" cy="120279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68558" tIns="34279" rIns="68558" bIns="34279" rtlCol="0" anchor="ctr"/>
            <a:lstStyle/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04048" y="702588"/>
              <a:ext cx="2475212" cy="400109"/>
            </a:xfrm>
            <a:prstGeom prst="rect">
              <a:avLst/>
            </a:prstGeom>
            <a:noFill/>
            <a:ln>
              <a:solidFill>
                <a:schemeClr val="accent1">
                  <a:lumMod val="50000"/>
                </a:schemeClr>
              </a:solidFill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обенности планирования </a:t>
              </a:r>
              <a:b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текущей базы МИО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22498" y="1338973"/>
              <a:ext cx="2475212" cy="369333"/>
            </a:xfrm>
            <a:prstGeom prst="rect">
              <a:avLst/>
            </a:prstGeom>
            <a:ln>
              <a:solidFill>
                <a:sysClr val="window" lastClr="FFFFFF">
                  <a:lumMod val="50000"/>
                </a:sysClr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marL="0" marR="0" lvl="0" indent="0" algn="l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зделение ТОХ (субвенции и </a:t>
              </a:r>
              <a:r>
                <a:rPr kumimoji="0" lang="ru-RU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ные изъятия)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: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112676" y="2060921"/>
              <a:ext cx="2464206" cy="1338829"/>
            </a:xfrm>
            <a:prstGeom prst="rect">
              <a:avLst/>
            </a:prstGeom>
            <a:ln>
              <a:solidFill>
                <a:sysClr val="window" lastClr="FFFFFF">
                  <a:lumMod val="50000"/>
                </a:sysClr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marL="171330" marR="0" lvl="0" indent="-171330" algn="l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ецелевые трансферты общего характера в рамках соответствующей методики МНЭ  </a:t>
              </a:r>
            </a:p>
            <a:p>
              <a:pPr marL="180975" marR="0" lvl="0" indent="0" algn="l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ля финансового обеспечения расходов местного бюджета и предоставляется на безвозмездной и невозвратной основе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ез установления направлений их использования</a:t>
              </a:r>
            </a:p>
          </p:txBody>
        </p:sp>
        <p:sp>
          <p:nvSpPr>
            <p:cNvPr id="19" name="Стрелка вниз 18"/>
            <p:cNvSpPr/>
            <p:nvPr/>
          </p:nvSpPr>
          <p:spPr>
            <a:xfrm>
              <a:off x="1083238" y="1824314"/>
              <a:ext cx="429974" cy="120268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68558" tIns="34279" rIns="68558" bIns="34279" rtlCol="0" anchor="ctr"/>
            <a:lstStyle/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104048" y="3580043"/>
              <a:ext cx="2459291" cy="1061828"/>
            </a:xfrm>
            <a:prstGeom prst="rect">
              <a:avLst/>
            </a:prstGeom>
            <a:ln>
              <a:solidFill>
                <a:sysClr val="window" lastClr="FFFFFF">
                  <a:lumMod val="50000"/>
                </a:sysClr>
              </a:solidFill>
              <a:prstDash val="sysDash"/>
            </a:ln>
          </p:spPr>
          <p:txBody>
            <a:bodyPr wrap="square">
              <a:spAutoFit/>
            </a:bodyPr>
            <a:lstStyle/>
            <a:p>
              <a:pPr marL="171330" marR="0" lvl="0" indent="-171330" algn="l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Целевые трансферты общего характера, определяемые МФ согласно решению РБК</a:t>
              </a:r>
            </a:p>
            <a:p>
              <a:pPr marL="180975" marR="0" lvl="0" indent="0" algn="l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Целевые текущие трансферты, передаваемые в базу ТОХ , </a:t>
              </a: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/>
              </a:r>
              <a:b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 сохранением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х целевого назначения 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511489" y="707726"/>
              <a:ext cx="34549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обенности планирования </a:t>
              </a:r>
            </a:p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целевых трансфертов на развитие:</a:t>
              </a:r>
            </a:p>
          </p:txBody>
        </p:sp>
        <p:sp>
          <p:nvSpPr>
            <p:cNvPr id="12" name="Стрелка вниз 11"/>
            <p:cNvSpPr/>
            <p:nvPr/>
          </p:nvSpPr>
          <p:spPr>
            <a:xfrm>
              <a:off x="6922312" y="2145202"/>
              <a:ext cx="560827" cy="126021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68558" tIns="34279" rIns="68558" bIns="34279" rtlCol="0" anchor="ctr"/>
            <a:lstStyle/>
            <a:p>
              <a:pPr marL="0" marR="0" lvl="0" indent="0" algn="ctr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538207" y="2316025"/>
              <a:ext cx="3329039" cy="2318153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rtlCol="0">
              <a:spAutoFit/>
            </a:bodyPr>
            <a:lstStyle/>
            <a:p>
              <a:pPr marL="171450" marR="0" lvl="0" indent="-171450" algn="just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дорожание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ектов за счет местного бюджета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ез исключения </a:t>
              </a: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Астаны (</a:t>
              </a:r>
              <a:r>
                <a:rPr kumimoji="0" lang="ru-RU" sz="9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водится анализ причин и величины удорожания бюджетных инвестиционных проектов в регионах</a:t>
              </a: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)</a:t>
              </a:r>
              <a:endPara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450" marR="0" lvl="0" indent="-171450" algn="just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едусматриваются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ополнительные виды официальной бюджетной отчетности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ТОХ для осуществления бюджетного мониторинга МИО</a:t>
              </a:r>
            </a:p>
            <a:p>
              <a:pPr marL="171450" marR="0" lvl="0" indent="-171450" algn="just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ценка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 контроль за ревком и ВАП</a:t>
              </a:r>
            </a:p>
            <a:p>
              <a:pPr marL="171450" marR="0" lvl="0" indent="-171450" algn="just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ведение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зора бюджетных расходов МИО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истечении трех лет на предмет оптимизации расходов</a:t>
              </a:r>
            </a:p>
            <a:p>
              <a:pPr marL="171450" marR="0" lvl="0" indent="-171450" algn="just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еспечение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озврата при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ецелевом использовании </a:t>
              </a: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целевых ТОХ, минимальных объемов, не достижении показателей по бюджету развития по заключению органов госаудита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E02BF0B-D154-D9FB-40A5-29E3E534EFF7}"/>
                </a:ext>
              </a:extLst>
            </p:cNvPr>
            <p:cNvSpPr txBox="1"/>
            <p:nvPr/>
          </p:nvSpPr>
          <p:spPr>
            <a:xfrm>
              <a:off x="5511489" y="1354043"/>
              <a:ext cx="3454903" cy="7396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330" marR="0" lvl="0" indent="-171330" algn="l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ланирование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азовой инфраструктуры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 рамках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ецелевых ТОХ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отдельным приложением к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закону 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330" marR="0" lvl="0" indent="-171330" algn="l" defTabSz="68992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ланирование из РБ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ектов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 критическую инфраструктуру и общестранового значения</a:t>
              </a:r>
            </a:p>
          </p:txBody>
        </p:sp>
      </p:grpSp>
      <p:sp>
        <p:nvSpPr>
          <p:cNvPr id="28" name="Стрелка вниз 27"/>
          <p:cNvSpPr/>
          <p:nvPr/>
        </p:nvSpPr>
        <p:spPr>
          <a:xfrm>
            <a:off x="6891245" y="1327318"/>
            <a:ext cx="565228" cy="127160"/>
          </a:xfrm>
          <a:prstGeom prst="downArrow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58" tIns="34279" rIns="68558" bIns="34279" rtlCol="0" anchor="ctr"/>
          <a:lstStyle/>
          <a:p>
            <a:pPr marL="0" marR="0" lvl="0" indent="0" algn="ctr" defTabSz="6899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1665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294860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1"/>
          <p:cNvSpPr txBox="1">
            <a:spLocks/>
          </p:cNvSpPr>
          <p:nvPr/>
        </p:nvSpPr>
        <p:spPr>
          <a:xfrm>
            <a:off x="0" y="29902"/>
            <a:ext cx="7154267" cy="316474"/>
          </a:xfrm>
          <a:prstGeom prst="rect">
            <a:avLst/>
          </a:prstGeom>
        </p:spPr>
        <p:txBody>
          <a:bodyPr vert="horz" lIns="119747" tIns="59878" rIns="119747" bIns="59878" rtlCol="0">
            <a:normAutofit fontScale="25000" lnSpcReduction="20000"/>
          </a:bodyPr>
          <a:lstStyle>
            <a:lvl1pPr marL="0" indent="0" algn="l" defTabSz="899860" rtl="0" eaLnBrk="1" latinLnBrk="0" hangingPunct="1">
              <a:spcBef>
                <a:spcPts val="0"/>
              </a:spcBef>
              <a:spcAft>
                <a:spcPts val="204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140" indent="-281208" algn="l" defTabSz="89986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4828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4761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24684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4619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4550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4483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4408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99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Элементы БЛОЧНОГО БЮДЖЕТА  - «Фонд развития»</a:t>
            </a:r>
          </a:p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05127" y="1099066"/>
            <a:ext cx="1526147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171450" indent="-171450">
              <a:buFont typeface="Arial" pitchFamily="34" charset="0"/>
              <a:buChar char="•"/>
              <a:defRPr sz="11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marL="171350" marR="0" lvl="0" indent="-17135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еспечение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гибкости и оперативности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/>
            </a:r>
            <a:b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</a:b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ешении вопросов единовременного финансирования расходов целей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азвития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55" y="293507"/>
            <a:ext cx="7726858" cy="5011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302" marR="0" lvl="0" indent="-171302" algn="just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ЕОБРАЗОВАНИЕ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«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Фонда поддержки инфраструктуры образования» 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</a:br>
            <a:r>
              <a:rPr kumimoji="0" lang="kk-KZ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и создаваемого нового «Специального государственного фонда»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«Фонд развития»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-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контрольный счет наличности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, открытый в центральном уполномоченном органе по исполнению для зачисления поступлений денег и расходованием их с целью </a:t>
            </a:r>
            <a:r>
              <a:rPr kumimoji="0" lang="ru-RU" sz="1000" b="1" i="0" u="sng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единовременного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финансирования расходов бюджета </a:t>
            </a:r>
            <a:r>
              <a:rPr kumimoji="0" lang="ru-RU" sz="1000" b="1" i="0" u="sng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а ЦЕЛИ РАЗВИТИЯ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– инвестпроекты, благоустройство, приобретение и замена основных средств и приобретение земли</a:t>
            </a:r>
          </a:p>
          <a:p>
            <a:pPr marL="450850" marR="0" lvl="1" indent="-106363" algn="l" defTabSz="689804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азвитие приоритетных отраслей и области инноваций</a:t>
            </a:r>
          </a:p>
          <a:p>
            <a:pPr marL="450850" marR="0" lvl="1" indent="-106363" algn="l" defTabSz="689804" rtl="0" eaLnBrk="1" fontAlgn="base" latinLnBrk="0" hangingPunct="1">
              <a:lnSpc>
                <a:spcPct val="11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еспечение межведомственного сотрудничества</a:t>
            </a: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Источники поступлений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 Фонд:</a:t>
            </a:r>
          </a:p>
          <a:p>
            <a:pPr marL="450850" marR="0" lvl="1" indent="-106363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деньги, ранее поступившие в «Фонд поддержки инфраструктуры образования»</a:t>
            </a:r>
          </a:p>
          <a:p>
            <a:pPr marL="450850" marR="0" lvl="1" indent="-106363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деньги, поступившие в госсобственность от реализации имущества, возвращенного в порядке, установленном законом «О возврате государству незаконно приобретенных активов»</a:t>
            </a:r>
          </a:p>
          <a:p>
            <a:pPr marL="450850" marR="0" lvl="1" indent="-106363" algn="l" defTabSz="689804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тдельные неналоговые поступления (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изучаем, что можно направить в фонд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)</a:t>
            </a:r>
          </a:p>
          <a:p>
            <a:pPr marL="450850" marR="0" lvl="1" indent="-106363" algn="l" defTabSz="689804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арафискальные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латежи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ырабатывается механизм изъятия отдельных видов в госбюджет с 2026 года. Для этого будет проведена ревизия отраслевых законов и подзаконных НПА с разработкой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еречня/реестра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171302" marR="0" lvl="0" indent="-171302" algn="l" defTabSz="689804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существление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администрирования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Фондом МФ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(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орядок распределения, предоставления, расходования, мониторинга, отчетности, публикации информации)</a:t>
            </a: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Установление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собого порядка планирования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:</a:t>
            </a:r>
          </a:p>
          <a:p>
            <a:pPr marL="515393" marR="0" lvl="1" indent="-171302" algn="l" defTabSz="689804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аспределение средств Фонда, исходя из фактического наличия средств, на конкурсной основе на основании заявок АБП</a:t>
            </a:r>
          </a:p>
          <a:p>
            <a:pPr marL="515393" marR="0" lvl="1" indent="-171302" algn="l" defTabSz="689804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ланирование ГИП по особому упрощенному порядку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(прорабатывается МНЭ)</a:t>
            </a:r>
          </a:p>
          <a:p>
            <a:pPr marL="515393" marR="0" lvl="1" indent="-171302" algn="just" defTabSz="689804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едоставление возможности первому руководителю АБП самостоятельного выбора поставщика без проведения конкурсных процедур из реестра поставщиков согласно закону о госзакупках –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недрение «Правило одной подписи»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(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т подачи заявки до заключения договора до 10-ти рабочих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дней. Процесс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одачи заявок не привязан к финансовому году и вне процесса бюджета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)</a:t>
            </a:r>
          </a:p>
          <a:p>
            <a:pPr marL="515393" marR="0" lvl="1" indent="-171302" algn="l" defTabSz="689804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едение АБП реестра закупок, осуществленных без проведения конкурсных закупок согласно закону о госзакупках –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краткое наименование товаров (работ, услуг), месторасположение поставщика, цена и дата закупки и др.</a:t>
            </a:r>
          </a:p>
          <a:p>
            <a:pPr marL="515393" marR="0" lvl="1" indent="-171302" algn="l" defTabSz="689804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тветственность первого руководителя АБП за недостижение показателей результатов от расходования средств Фонд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7748530" y="293507"/>
            <a:ext cx="4348" cy="4714426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dash"/>
          </a:ln>
          <a:effectLst/>
        </p:spPr>
      </p:cxnSp>
      <p:sp>
        <p:nvSpPr>
          <p:cNvPr id="8" name="TextBox 7"/>
          <p:cNvSpPr txBox="1"/>
          <p:nvPr/>
        </p:nvSpPr>
        <p:spPr>
          <a:xfrm>
            <a:off x="7756676" y="558464"/>
            <a:ext cx="916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Эффект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894043" y="17861"/>
            <a:ext cx="1148316" cy="276999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k-KZ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продолжение</a:t>
            </a: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9016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val 223">
            <a:extLst>
              <a:ext uri="{FF2B5EF4-FFF2-40B4-BE49-F238E27FC236}">
                <a16:creationId xmlns:a16="http://schemas.microsoft.com/office/drawing/2014/main" id="{FCAD31C4-AC6E-4EA2-9A3F-19E0B73CA6F9}"/>
              </a:ext>
            </a:extLst>
          </p:cNvPr>
          <p:cNvSpPr/>
          <p:nvPr/>
        </p:nvSpPr>
        <p:spPr bwMode="gray">
          <a:xfrm>
            <a:off x="90714" y="3304041"/>
            <a:ext cx="1138901" cy="457687"/>
          </a:xfrm>
          <a:prstGeom prst="ellipse">
            <a:avLst/>
          </a:prstGeom>
          <a:solidFill>
            <a:schemeClr val="bg1"/>
          </a:solidFill>
          <a:ln w="285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0372" tIns="25196" rIns="50372" bIns="251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49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rPr>
              <a:t>т</a:t>
            </a: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rPr>
              <a:t>ретий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rPr>
              <a:t> этап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Lato Heavy"/>
              <a:ea typeface="ＭＳ Ｐゴシック"/>
              <a:cs typeface="Arial"/>
              <a:sym typeface="Arial"/>
            </a:endParaRPr>
          </a:p>
        </p:txBody>
      </p:sp>
      <p:sp>
        <p:nvSpPr>
          <p:cNvPr id="16" name="Oval 223">
            <a:extLst>
              <a:ext uri="{FF2B5EF4-FFF2-40B4-BE49-F238E27FC236}">
                <a16:creationId xmlns:a16="http://schemas.microsoft.com/office/drawing/2014/main" id="{FCAD31C4-AC6E-4EA2-9A3F-19E0B73CA6F9}"/>
              </a:ext>
            </a:extLst>
          </p:cNvPr>
          <p:cNvSpPr/>
          <p:nvPr/>
        </p:nvSpPr>
        <p:spPr bwMode="gray">
          <a:xfrm>
            <a:off x="143315" y="2286092"/>
            <a:ext cx="1138901" cy="457687"/>
          </a:xfrm>
          <a:prstGeom prst="ellipse">
            <a:avLst/>
          </a:prstGeom>
          <a:solidFill>
            <a:schemeClr val="bg1"/>
          </a:solidFill>
          <a:ln w="285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0372" tIns="25196" rIns="50372" bIns="251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49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rPr>
              <a:t>второй этап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Lato Heavy"/>
              <a:ea typeface="ＭＳ Ｐゴシック"/>
              <a:cs typeface="Arial"/>
              <a:sym typeface="Arial"/>
            </a:endParaRPr>
          </a:p>
        </p:txBody>
      </p:sp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223">
            <a:extLst>
              <a:ext uri="{FF2B5EF4-FFF2-40B4-BE49-F238E27FC236}">
                <a16:creationId xmlns:a16="http://schemas.microsoft.com/office/drawing/2014/main" id="{FCAD31C4-AC6E-4EA2-9A3F-19E0B73CA6F9}"/>
              </a:ext>
            </a:extLst>
          </p:cNvPr>
          <p:cNvSpPr/>
          <p:nvPr/>
        </p:nvSpPr>
        <p:spPr bwMode="gray">
          <a:xfrm>
            <a:off x="90714" y="1004464"/>
            <a:ext cx="1244104" cy="465968"/>
          </a:xfrm>
          <a:prstGeom prst="ellipse">
            <a:avLst/>
          </a:prstGeom>
          <a:solidFill>
            <a:schemeClr val="bg1"/>
          </a:solidFill>
          <a:ln w="285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0372" tIns="25196" rIns="50372" bIns="251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49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rPr>
              <a:t>первый этап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Lato Heavy"/>
              <a:ea typeface="ＭＳ Ｐゴシック"/>
              <a:cs typeface="Arial"/>
              <a:sym typeface="Arial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25278" y="1928286"/>
            <a:ext cx="4612955" cy="1060251"/>
            <a:chOff x="138694" y="1011439"/>
            <a:chExt cx="5895698" cy="1485575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23" name="Ink 11">
                  <a:extLst>
                    <a:ext uri="{FF2B5EF4-FFF2-40B4-BE49-F238E27FC236}">
                      <a16:creationId xmlns:a16="http://schemas.microsoft.com/office/drawing/2014/main" id="{94774D7E-7C79-4687-AEEA-C1A388F4CADE}"/>
                    </a:ext>
                  </a:extLst>
                </p14:cNvPr>
                <p14:cNvContentPartPr/>
                <p14:nvPr/>
              </p14:nvContentPartPr>
              <p14:xfrm>
                <a:off x="138694" y="1954480"/>
                <a:ext cx="595" cy="294"/>
              </p14:xfrm>
            </p:contentPart>
          </mc:Choice>
          <mc:Fallback xmlns="">
            <p:pic>
              <p:nvPicPr>
                <p:cNvPr id="79" name="Ink 11">
                  <a:extLst>
                    <a:ext uri="{FF2B5EF4-FFF2-40B4-BE49-F238E27FC236}">
                      <a16:creationId xmlns:a16="http://schemas.microsoft.com/office/drawing/2014/main" xmlns:p14="http://schemas.microsoft.com/office/powerpoint/2010/main" xmlns="" id="{94774D7E-7C79-4687-AEEA-C1A388F4CADE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35124" y="1952716"/>
                  <a:ext cx="7735" cy="3822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24" name="Стрелка: пятиугольник 7">
              <a:extLst>
                <a:ext uri="{FF2B5EF4-FFF2-40B4-BE49-F238E27FC236}">
                  <a16:creationId xmlns:a16="http://schemas.microsoft.com/office/drawing/2014/main" id="{04D67ABB-12DA-4834-A86C-F4EC5C75F4F2}"/>
                </a:ext>
              </a:extLst>
            </p:cNvPr>
            <p:cNvSpPr/>
            <p:nvPr/>
          </p:nvSpPr>
          <p:spPr>
            <a:xfrm>
              <a:off x="858693" y="1011439"/>
              <a:ext cx="5175699" cy="1405423"/>
            </a:xfrm>
            <a:prstGeom prst="homePlate">
              <a:avLst>
                <a:gd name="adj" fmla="val 37397"/>
              </a:avLst>
            </a:prstGeom>
            <a:pattFill prst="ltDnDiag">
              <a:fgClr>
                <a:schemeClr val="bg1">
                  <a:lumMod val="95000"/>
                </a:schemeClr>
              </a:fgClr>
              <a:bgClr>
                <a:schemeClr val="bg1">
                  <a:lumMod val="95000"/>
                </a:scheme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x-non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cs typeface="Arial"/>
                <a:sym typeface="Arial"/>
              </a:endParaRP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4E9C43F6-23BC-4D64-B0A9-D9B6F202C5C0}"/>
                </a:ext>
              </a:extLst>
            </p:cNvPr>
            <p:cNvSpPr/>
            <p:nvPr/>
          </p:nvSpPr>
          <p:spPr>
            <a:xfrm>
              <a:off x="943421" y="1073914"/>
              <a:ext cx="4600678" cy="14231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  <a:sym typeface="Arial"/>
                </a:rPr>
                <a:t>с 15 мая по 1 сентября </a:t>
              </a:r>
            </a:p>
            <a:p>
              <a:pPr marL="214070" marR="0" lvl="0" indent="-21407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Char char="-"/>
                <a:tabLst/>
                <a:defRPr/>
              </a:pPr>
              <a:r>
                <a:rPr kumimoji="0" lang="ru-RU" sz="1200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  <a:sym typeface="Arial"/>
                </a:rPr>
                <a:t>рассмотрение бюджетных заявок и бюджетных программ;</a:t>
              </a:r>
            </a:p>
            <a:p>
              <a:pPr marL="214070" marR="0" lvl="0" indent="-21407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Char char="-"/>
                <a:tabLst/>
                <a:defRPr/>
              </a:pPr>
              <a:r>
                <a:rPr kumimoji="0" lang="ru-RU" sz="1200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  <a:sym typeface="Arial"/>
                </a:rPr>
                <a:t>рассмотрение проекта бюджета РБК;</a:t>
              </a:r>
            </a:p>
            <a:p>
              <a:pPr marL="214070" marR="0" lvl="0" indent="-21407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Char char="-"/>
                <a:tabLst/>
                <a:defRPr/>
              </a:pPr>
              <a:r>
                <a:rPr kumimoji="0" lang="ru-RU" sz="1200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/>
                  <a:sym typeface="Arial"/>
                </a:rPr>
                <a:t>второй этап разработки ПСЭР</a:t>
              </a:r>
            </a:p>
          </p:txBody>
        </p:sp>
      </p:grpSp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Ink 11">
                <a:extLst>
                  <a:ext uri="{FF2B5EF4-FFF2-40B4-BE49-F238E27FC236}">
                    <a16:creationId xmlns:a16="http://schemas.microsoft.com/office/drawing/2014/main" id="{94774D7E-7C79-4687-AEEA-C1A388F4CADE}"/>
                  </a:ext>
                </a:extLst>
              </p14:cNvPr>
              <p14:cNvContentPartPr/>
              <p14:nvPr/>
            </p14:nvContentPartPr>
            <p14:xfrm>
              <a:off x="457703" y="1684293"/>
              <a:ext cx="465" cy="247"/>
            </p14:xfrm>
          </p:contentPart>
        </mc:Choice>
        <mc:Fallback xmlns="">
          <p:pic>
            <p:nvPicPr>
              <p:cNvPr id="11" name="Ink 11">
                <a:extLst>
                  <a:ext uri="{FF2B5EF4-FFF2-40B4-BE49-F238E27FC236}">
                    <a16:creationId xmlns:a16="http://schemas.microsoft.com/office/drawing/2014/main" id="{94774D7E-7C79-4687-AEEA-C1A388F4CADE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54912" y="1682786"/>
                <a:ext cx="6045" cy="3211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Стрелка: пятиугольник 7">
            <a:extLst>
              <a:ext uri="{FF2B5EF4-FFF2-40B4-BE49-F238E27FC236}">
                <a16:creationId xmlns:a16="http://schemas.microsoft.com/office/drawing/2014/main" id="{04D67ABB-12DA-4834-A86C-F4EC5C75F4F2}"/>
              </a:ext>
            </a:extLst>
          </p:cNvPr>
          <p:cNvSpPr/>
          <p:nvPr/>
        </p:nvSpPr>
        <p:spPr>
          <a:xfrm>
            <a:off x="1112081" y="737017"/>
            <a:ext cx="4023196" cy="1091913"/>
          </a:xfrm>
          <a:prstGeom prst="homePlate">
            <a:avLst>
              <a:gd name="adj" fmla="val 37397"/>
            </a:avLst>
          </a:prstGeom>
          <a:pattFill prst="ltDnDiag">
            <a:fgClr>
              <a:schemeClr val="bg1">
                <a:lumMod val="85000"/>
              </a:schemeClr>
            </a:fgClr>
            <a:bgClr>
              <a:schemeClr val="bg1">
                <a:lumMod val="95000"/>
              </a:schemeClr>
            </a:bgClr>
          </a:pattFill>
          <a:ln w="9525" cap="flat" cmpd="sng" algn="ctr">
            <a:noFill/>
            <a:prstDash val="solid"/>
          </a:ln>
          <a:effectLst/>
        </p:spPr>
        <p:txBody>
          <a:bodyPr lIns="91390" tIns="45695" rIns="91390" bIns="45695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x-non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Heavy"/>
              <a:cs typeface="Arial"/>
              <a:sym typeface="Arial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E9C43F6-23BC-4D64-B0A9-D9B6F202C5C0}"/>
              </a:ext>
            </a:extLst>
          </p:cNvPr>
          <p:cNvSpPr/>
          <p:nvPr/>
        </p:nvSpPr>
        <p:spPr>
          <a:xfrm>
            <a:off x="1232655" y="799818"/>
            <a:ext cx="3598166" cy="830946"/>
          </a:xfrm>
          <a:prstGeom prst="rect">
            <a:avLst/>
          </a:prstGeom>
        </p:spPr>
        <p:txBody>
          <a:bodyPr wrap="square" lIns="91390" tIns="45695" rIns="91390" bIns="45695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с 15 марта по 15 мая </a:t>
            </a:r>
          </a:p>
          <a:p>
            <a:pPr marL="214070" marR="0" lvl="0" indent="-2140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рассмотрение планов развития и бюджетных программ ГО;</a:t>
            </a:r>
          </a:p>
          <a:p>
            <a:pPr marL="214070" marR="0" lvl="0" indent="-2140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первый этап разработки ПСЭР;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255905" y="4359481"/>
            <a:ext cx="1873826" cy="323162"/>
          </a:xfrm>
          <a:prstGeom prst="rect">
            <a:avLst/>
          </a:prstGeom>
        </p:spPr>
        <p:txBody>
          <a:bodyPr wrap="none" lIns="91390" tIns="45695" rIns="91390" bIns="45695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k-KZ" sz="1500" b="1" i="0" u="none" strike="noStrike" kern="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3 месяца/90 дней </a:t>
            </a:r>
            <a:endParaRPr kumimoji="0" lang="ru-RU" sz="1500" b="0" i="0" u="none" strike="noStrike" kern="0" cap="none" spc="0" normalizeH="0" baseline="0" noProof="0" dirty="0">
              <a:ln>
                <a:noFill/>
              </a:ln>
              <a:solidFill>
                <a:srgbClr val="A5A5A5">
                  <a:lumMod val="5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614916" y="4656754"/>
            <a:ext cx="2103360" cy="323115"/>
          </a:xfrm>
          <a:prstGeom prst="rect">
            <a:avLst/>
          </a:prstGeom>
        </p:spPr>
        <p:txBody>
          <a:bodyPr wrap="none" lIns="91390" tIns="45695" rIns="91390" bIns="45695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k-KZ" sz="15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7 месяцев/220 дней </a:t>
            </a:r>
            <a:endParaRPr kumimoji="0" lang="ru-RU" sz="1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5398995" y="723478"/>
            <a:ext cx="3610534" cy="3478727"/>
            <a:chOff x="2102737" y="3994359"/>
            <a:chExt cx="1792404" cy="991458"/>
          </a:xfrm>
        </p:grpSpPr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B202BD12-27FC-45BD-A340-7A31BBFA4CD7}"/>
                </a:ext>
              </a:extLst>
            </p:cNvPr>
            <p:cNvCxnSpPr/>
            <p:nvPr/>
          </p:nvCxnSpPr>
          <p:spPr>
            <a:xfrm>
              <a:off x="3850818" y="4057481"/>
              <a:ext cx="0" cy="717446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86">
              <a:extLst>
                <a:ext uri="{FF2B5EF4-FFF2-40B4-BE49-F238E27FC236}">
                  <a16:creationId xmlns:a16="http://schemas.microsoft.com/office/drawing/2014/main" id="{7CCFB9E1-F2B7-4888-8CA2-D42A5BA9EB34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102737" y="3994359"/>
              <a:ext cx="1792404" cy="991458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bg1">
                  <a:lumMod val="95000"/>
                </a:schemeClr>
              </a:fgClr>
              <a:bgClr>
                <a:schemeClr val="bg1">
                  <a:lumMod val="95000"/>
                </a:scheme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342467" marR="0" lvl="1" indent="0" algn="l" defTabSz="6849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28" name="Rectangle 88">
              <a:extLst>
                <a:ext uri="{FF2B5EF4-FFF2-40B4-BE49-F238E27FC236}">
                  <a16:creationId xmlns:a16="http://schemas.microsoft.com/office/drawing/2014/main" id="{34BD5EDD-C65A-46EB-B482-93DECAA4DD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375951" y="4590255"/>
              <a:ext cx="788706" cy="34906"/>
            </a:xfrm>
            <a:prstGeom prst="rect">
              <a:avLst/>
            </a:prstGeom>
            <a:solidFill>
              <a:srgbClr val="FBE18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6849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29" name="Rectangle: Rounded Corners 124">
              <a:extLst>
                <a:ext uri="{FF2B5EF4-FFF2-40B4-BE49-F238E27FC236}">
                  <a16:creationId xmlns:a16="http://schemas.microsoft.com/office/drawing/2014/main" id="{7E7A58A2-4EA2-4583-B375-F2FA5D943942}"/>
                </a:ext>
              </a:extLst>
            </p:cNvPr>
            <p:cNvSpPr/>
            <p:nvPr/>
          </p:nvSpPr>
          <p:spPr>
            <a:xfrm>
              <a:off x="2130021" y="4041690"/>
              <a:ext cx="1737836" cy="871735"/>
            </a:xfrm>
            <a:prstGeom prst="roundRect">
              <a:avLst>
                <a:gd name="adj" fmla="val 4038"/>
              </a:avLst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3" tIns="34281" rIns="68563" bIns="34281" rtlCol="0" anchor="ctr"/>
            <a:lstStyle/>
            <a:p>
              <a:pPr marL="0" marR="0" lvl="0" indent="0" algn="ctr" defTabSz="5137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/>
              </a:endParaRPr>
            </a:p>
          </p:txBody>
        </p:sp>
        <p:sp>
          <p:nvSpPr>
            <p:cNvPr id="30" name="Прямоугольник 115">
              <a:extLst>
                <a:ext uri="{FF2B5EF4-FFF2-40B4-BE49-F238E27FC236}">
                  <a16:creationId xmlns:a16="http://schemas.microsoft.com/office/drawing/2014/main" id="{81A0C247-E754-4626-8A56-FB6D1D316DE6}"/>
                </a:ext>
              </a:extLst>
            </p:cNvPr>
            <p:cNvSpPr/>
            <p:nvPr/>
          </p:nvSpPr>
          <p:spPr>
            <a:xfrm>
              <a:off x="2131643" y="4093344"/>
              <a:ext cx="1734638" cy="8573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1422" tIns="25711" rIns="51422" bIns="25711">
              <a:spAutoFit/>
            </a:bodyPr>
            <a:lstStyle>
              <a:defPPr>
                <a:defRPr lang="ru-RU"/>
              </a:defPPr>
              <a:lvl1pPr marL="0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528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3056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585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6115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2644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9171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5699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2228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30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itchFamily="34" charset="0"/>
                <a:ea typeface="Barlow Condensed"/>
                <a:cs typeface="Arial" pitchFamily="34" charset="0"/>
                <a:sym typeface="Arial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5451630" y="696936"/>
            <a:ext cx="3494378" cy="1056239"/>
            <a:chOff x="5498479" y="946828"/>
            <a:chExt cx="3481562" cy="997606"/>
          </a:xfrm>
        </p:grpSpPr>
        <p:sp>
          <p:nvSpPr>
            <p:cNvPr id="8" name="Rectangle 104">
              <a:extLst>
                <a:ext uri="{FF2B5EF4-FFF2-40B4-BE49-F238E27FC236}">
                  <a16:creationId xmlns:a16="http://schemas.microsoft.com/office/drawing/2014/main" id="{DC382889-BEBB-482E-9BDD-302E0EBF5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8479" y="946828"/>
              <a:ext cx="3481562" cy="5014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91390" tIns="45695" rIns="91390" bIns="45695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0" name="Rectangle 104">
              <a:extLst>
                <a:ext uri="{FF2B5EF4-FFF2-40B4-BE49-F238E27FC236}">
                  <a16:creationId xmlns:a16="http://schemas.microsoft.com/office/drawing/2014/main" id="{DC382889-BEBB-482E-9BDD-302E0EBF5AC5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2630" y="1894293"/>
              <a:ext cx="3391352" cy="5014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91390" tIns="45695" rIns="91390" bIns="45695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4" name="Oval 223">
              <a:extLst>
                <a:ext uri="{FF2B5EF4-FFF2-40B4-BE49-F238E27FC236}">
                  <a16:creationId xmlns:a16="http://schemas.microsoft.com/office/drawing/2014/main" id="{6812F1C0-FF38-4FCD-B9C5-C25AEEFC5F1A}"/>
                </a:ext>
              </a:extLst>
            </p:cNvPr>
            <p:cNvSpPr/>
            <p:nvPr/>
          </p:nvSpPr>
          <p:spPr bwMode="gray">
            <a:xfrm>
              <a:off x="6476560" y="1200274"/>
              <a:ext cx="1748561" cy="650035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666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50372" tIns="25196" rIns="50372" bIns="25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49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solidFill>
                    <a:srgbClr val="FFC000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5" name="Oval 223">
              <a:extLst>
                <a:ext uri="{FF2B5EF4-FFF2-40B4-BE49-F238E27FC236}">
                  <a16:creationId xmlns:a16="http://schemas.microsoft.com/office/drawing/2014/main" id="{FCAD31C4-AC6E-4EA2-9A3F-19E0B73CA6F9}"/>
                </a:ext>
              </a:extLst>
            </p:cNvPr>
            <p:cNvSpPr/>
            <p:nvPr/>
          </p:nvSpPr>
          <p:spPr bwMode="gray">
            <a:xfrm>
              <a:off x="6586473" y="1282997"/>
              <a:ext cx="1528736" cy="446217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50372" tIns="25196" rIns="50372" bIns="251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49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Lato Heavy"/>
                  <a:ea typeface="ＭＳ Ｐゴシック"/>
                  <a:cs typeface="Arial"/>
                  <a:sym typeface="Arial"/>
                </a:rPr>
                <a:t>один этап</a:t>
              </a:r>
              <a:endParaRPr kumimoji="0" lang="en-GB" sz="1500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endParaRPr>
            </a:p>
          </p:txBody>
        </p:sp>
      </p:grpSp>
      <p:sp>
        <p:nvSpPr>
          <p:cNvPr id="18" name="Прямоугольник 17"/>
          <p:cNvSpPr/>
          <p:nvPr/>
        </p:nvSpPr>
        <p:spPr>
          <a:xfrm>
            <a:off x="5562759" y="2089480"/>
            <a:ext cx="3284153" cy="1692721"/>
          </a:xfrm>
          <a:prstGeom prst="rect">
            <a:avLst/>
          </a:prstGeom>
        </p:spPr>
        <p:txBody>
          <a:bodyPr wrap="square" lIns="91390" tIns="45695" rIns="91390" bIns="45695">
            <a:spAutoFit/>
          </a:bodyPr>
          <a:lstStyle/>
          <a:p>
            <a:pPr marL="214070" marR="0" lvl="0" indent="-2140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ПСЭР</a:t>
            </a:r>
            <a:r>
              <a:rPr kumimoji="0" lang="kk-KZ" sz="1100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;</a:t>
            </a:r>
          </a:p>
          <a:p>
            <a:pPr marL="214070" marR="0" lvl="0" indent="-2140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новый формат бюджетной программы как </a:t>
            </a:r>
            <a:r>
              <a:rPr kumimoji="0" lang="ru-RU" sz="1100" b="1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единого документа </a:t>
            </a:r>
            <a: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бюджетного </a:t>
            </a:r>
            <a:r>
              <a:rPr kumimoji="0" lang="ru-RU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планирования </a:t>
            </a:r>
            <a:endParaRPr kumimoji="0" lang="ru-RU" sz="1100" b="0" i="1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cs typeface="Arial"/>
              <a:sym typeface="Arial"/>
            </a:endParaRPr>
          </a:p>
          <a:p>
            <a:pPr marL="214070" marR="0" lvl="0" indent="-2140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лимит по новым инициативам</a:t>
            </a:r>
            <a:endParaRPr kumimoji="0" lang="kk-KZ" sz="1100" b="0" i="1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k-KZ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+ </a:t>
            </a:r>
            <a:r>
              <a:rPr kumimoji="0" lang="kk-KZ" sz="1600" b="1" i="0" u="none" strike="noStrike" kern="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7 дней в декабре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k-KZ" sz="1100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постановление о реализации </a:t>
            </a:r>
            <a:br>
              <a:rPr kumimoji="0" lang="kk-KZ" sz="1100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</a:br>
            <a:r>
              <a:rPr kumimoji="0" lang="kk-KZ" sz="1100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в упрощенном виде </a:t>
            </a:r>
            <a:r>
              <a:rPr kumimoji="0" 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(</a:t>
            </a:r>
            <a:r>
              <a:rPr kumimoji="0" lang="kk-KZ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ЦТТ+ЦТР в базу ТОХ будут переданы</a:t>
            </a:r>
            <a:r>
              <a:rPr kumimoji="0" 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cs typeface="Arial"/>
                <a:sym typeface="Arial"/>
              </a:rPr>
              <a:t>)</a:t>
            </a:r>
            <a:endParaRPr kumimoji="0" lang="kk-KZ" sz="1100" b="0" i="1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cs typeface="Arial"/>
              <a:sym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923299" y="1722329"/>
            <a:ext cx="2996948" cy="313817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с 1 июня по 1 сентября </a:t>
            </a:r>
          </a:p>
        </p:txBody>
      </p:sp>
      <p:sp>
        <p:nvSpPr>
          <p:cNvPr id="21" name="Стрелка вниз 20"/>
          <p:cNvSpPr/>
          <p:nvPr/>
        </p:nvSpPr>
        <p:spPr>
          <a:xfrm>
            <a:off x="2397024" y="4445419"/>
            <a:ext cx="534433" cy="203052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1" tIns="45680" rIns="91361" bIns="4568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22" name="Стрелка вниз 21"/>
          <p:cNvSpPr/>
          <p:nvPr/>
        </p:nvSpPr>
        <p:spPr>
          <a:xfrm>
            <a:off x="6987747" y="4197559"/>
            <a:ext cx="528992" cy="247860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1" tIns="45680" rIns="91361" bIns="4568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020520" y="411519"/>
            <a:ext cx="2109211" cy="276999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Предлагается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198365" y="430790"/>
            <a:ext cx="2938947" cy="276999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Действующая система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/>
              <a:sym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33352" y="4601061"/>
            <a:ext cx="26138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за счет перезагрузки системы госпланирования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34" name="Ink 11">
                <a:extLst>
                  <a:ext uri="{FF2B5EF4-FFF2-40B4-BE49-F238E27FC236}">
                    <a16:creationId xmlns:a16="http://schemas.microsoft.com/office/drawing/2014/main" id="{94774D7E-7C79-4687-AEEA-C1A388F4CADE}"/>
                  </a:ext>
                </a:extLst>
              </p14:cNvPr>
              <p14:cNvContentPartPr/>
              <p14:nvPr/>
            </p14:nvContentPartPr>
            <p14:xfrm>
              <a:off x="525278" y="3658143"/>
              <a:ext cx="463" cy="200"/>
            </p14:xfrm>
          </p:contentPart>
        </mc:Choice>
        <mc:Fallback xmlns="">
          <p:pic>
            <p:nvPicPr>
              <p:cNvPr id="34" name="Ink 11">
                <a:extLst>
                  <a:ext uri="{FF2B5EF4-FFF2-40B4-BE49-F238E27FC236}">
                    <a16:creationId xmlns:a16="http://schemas.microsoft.com/office/drawing/2014/main" id="{94774D7E-7C79-4687-AEEA-C1A388F4CADE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22500" y="3656943"/>
                <a:ext cx="6019" cy="2600"/>
              </a:xfrm>
              <a:prstGeom prst="rect">
                <a:avLst/>
              </a:prstGeom>
            </p:spPr>
          </p:pic>
        </mc:Fallback>
      </mc:AlternateContent>
      <p:sp>
        <p:nvSpPr>
          <p:cNvPr id="35" name="Стрелка: пятиугольник 7">
            <a:extLst>
              <a:ext uri="{FF2B5EF4-FFF2-40B4-BE49-F238E27FC236}">
                <a16:creationId xmlns:a16="http://schemas.microsoft.com/office/drawing/2014/main" id="{04D67ABB-12DA-4834-A86C-F4EC5C75F4F2}"/>
              </a:ext>
            </a:extLst>
          </p:cNvPr>
          <p:cNvSpPr/>
          <p:nvPr/>
        </p:nvSpPr>
        <p:spPr>
          <a:xfrm>
            <a:off x="1082949" y="3022690"/>
            <a:ext cx="4052328" cy="1335149"/>
          </a:xfrm>
          <a:prstGeom prst="homePlate">
            <a:avLst>
              <a:gd name="adj" fmla="val 37397"/>
            </a:avLst>
          </a:prstGeom>
          <a:pattFill prst="ltDnDiag">
            <a:fgClr>
              <a:schemeClr val="bg1">
                <a:lumMod val="95000"/>
              </a:schemeClr>
            </a:fgClr>
            <a:bgClr>
              <a:schemeClr val="bg1">
                <a:lumMod val="95000"/>
              </a:scheme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x-non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Heavy"/>
              <a:cs typeface="Arial"/>
              <a:sym typeface="Arial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4E9C43F6-23BC-4D64-B0A9-D9B6F202C5C0}"/>
              </a:ext>
            </a:extLst>
          </p:cNvPr>
          <p:cNvSpPr/>
          <p:nvPr/>
        </p:nvSpPr>
        <p:spPr>
          <a:xfrm>
            <a:off x="1143754" y="3043935"/>
            <a:ext cx="3602736" cy="1292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с 1 декабря (в течение 40 дней)</a:t>
            </a:r>
          </a:p>
          <a:p>
            <a:pPr marL="214070" marR="0" lvl="0" indent="-2140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принятие постановления о реализации закона о РБ (7 дней)</a:t>
            </a:r>
          </a:p>
          <a:p>
            <a:pPr marL="214070" marR="0" lvl="0" indent="-2140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утверждение планов развития и бюджетных программ (АБП, МНЭ, МФ) (30 дней)</a:t>
            </a:r>
          </a:p>
          <a:p>
            <a:pPr marL="214070" marR="0" lvl="0" indent="-2140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утверждение операционных планов (АБП) </a:t>
            </a:r>
            <a:b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</a:br>
            <a:r>
              <a:rPr kumimoji="0" lang="ru-RU" sz="11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(10 дней)</a:t>
            </a:r>
          </a:p>
        </p:txBody>
      </p:sp>
      <p:sp>
        <p:nvSpPr>
          <p:cNvPr id="41" name="Умножение 40"/>
          <p:cNvSpPr/>
          <p:nvPr/>
        </p:nvSpPr>
        <p:spPr>
          <a:xfrm>
            <a:off x="4481863" y="3588624"/>
            <a:ext cx="348958" cy="299864"/>
          </a:xfrm>
          <a:prstGeom prst="mathMultiply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2" name="Умножение 41"/>
          <p:cNvSpPr/>
          <p:nvPr/>
        </p:nvSpPr>
        <p:spPr>
          <a:xfrm>
            <a:off x="2064347" y="4088935"/>
            <a:ext cx="352848" cy="290149"/>
          </a:xfrm>
          <a:prstGeom prst="mathMultiply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17282"/>
            <a:ext cx="73802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2. Кардинально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упрощение бюджетного процесс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869316" y="17282"/>
            <a:ext cx="11628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должение</a:t>
            </a: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5350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V="1">
            <a:off x="0" y="509113"/>
            <a:ext cx="9144000" cy="143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0" y="11512"/>
            <a:ext cx="9008221" cy="522988"/>
          </a:xfrm>
          <a:prstGeom prst="rect">
            <a:avLst/>
          </a:prstGeom>
        </p:spPr>
        <p:txBody>
          <a:bodyPr wrap="square" lIns="91211" tIns="45605" rIns="91211" bIns="45605">
            <a:spAutoFit/>
          </a:bodyPr>
          <a:lstStyle/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3. Реформирова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модели бюджетной политики путем перехода от «управления бюджетом» 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ahoma" panose="020B0604030504040204" pitchFamily="34" charset="0"/>
              <a:sym typeface="Arial"/>
            </a:endParaRPr>
          </a:p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к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«управлению результатами»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0" y="743366"/>
            <a:ext cx="9051061" cy="3376716"/>
            <a:chOff x="0" y="743366"/>
            <a:chExt cx="9051061" cy="3376716"/>
          </a:xfrm>
        </p:grpSpPr>
        <p:sp>
          <p:nvSpPr>
            <p:cNvPr id="5" name="TextBox 4"/>
            <p:cNvSpPr txBox="1"/>
            <p:nvPr/>
          </p:nvSpPr>
          <p:spPr>
            <a:xfrm>
              <a:off x="61792" y="743366"/>
              <a:ext cx="8989269" cy="27681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lIns="91261" tIns="45630" rIns="91261" bIns="45630" rtlCol="0">
              <a:spAutoFit/>
            </a:bodyPr>
            <a:lstStyle/>
            <a:p>
              <a:pPr marL="0" marR="0" lvl="0" indent="0" algn="l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недрение НОВОГО раздела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: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«2. Основы бюджетирования РК»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 определением глав: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1981039" y="1149823"/>
              <a:ext cx="7027182" cy="570726"/>
            </a:xfrm>
            <a:prstGeom prst="rect">
              <a:avLst/>
            </a:prstGeom>
          </p:spPr>
          <p:txBody>
            <a:bodyPr wrap="square" lIns="91261" tIns="45630" rIns="91261" bIns="45630">
              <a:spAutoFit/>
            </a:bodyPr>
            <a:lstStyle/>
            <a:p>
              <a:pPr marL="256883" marR="0" lvl="0" indent="-256883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щие положения планов развития госорганов/регионов, планов мероприятий и развития субъектов квазигоссектора в части взаимоотношении с бюджетом: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рядок разработки/утверждения/корректировки, подготовки заключения уполномоченными органами, мониторинга (отчета), оценки 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67998" y="1107310"/>
              <a:ext cx="1867287" cy="692316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91261" tIns="45630" rIns="91261" bIns="45630">
              <a:spAutoFit/>
            </a:bodyPr>
            <a:lstStyle/>
            <a:p>
              <a:pPr marL="0" marR="0" lvl="0" indent="0" algn="ct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 </a:t>
              </a:r>
              <a:br>
                <a:rPr kumimoji="0" lang="ru-R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ударственного планирования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(</a:t>
              </a:r>
              <a:r>
                <a:rPr kumimoji="0" lang="kk-KZ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ГП</a:t>
              </a: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)</a:t>
              </a:r>
              <a:endPara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179759" y="2285725"/>
              <a:ext cx="1643764" cy="49226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91261" tIns="45630" rIns="91261" bIns="45630">
              <a:spAutoFit/>
            </a:bodyPr>
            <a:lstStyle/>
            <a:p>
              <a:pPr marL="0" marR="0" lvl="0" indent="0" algn="ct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правление результатами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0" y="3448414"/>
              <a:ext cx="2084027" cy="49226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91261" tIns="45630" rIns="91261" bIns="45630">
              <a:spAutoFit/>
            </a:bodyPr>
            <a:lstStyle/>
            <a:p>
              <a:pPr marL="0" marR="0" lvl="0" indent="0" algn="ct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дотчетность </a:t>
              </a:r>
              <a:br>
                <a:rPr kumimoji="0" lang="ru-R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 транспарентность </a:t>
              </a: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310" y="2106711"/>
              <a:ext cx="8864231" cy="6854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11" name="Прямоугольник 10"/>
            <p:cNvSpPr/>
            <p:nvPr/>
          </p:nvSpPr>
          <p:spPr>
            <a:xfrm>
              <a:off x="1935286" y="2260419"/>
              <a:ext cx="7072936" cy="607677"/>
            </a:xfrm>
            <a:prstGeom prst="rect">
              <a:avLst/>
            </a:prstGeom>
          </p:spPr>
          <p:txBody>
            <a:bodyPr wrap="square" lIns="91261" tIns="45630" rIns="91261" bIns="45630">
              <a:spAutoFit/>
            </a:bodyPr>
            <a:lstStyle/>
            <a:p>
              <a:pPr marL="256883" marR="0" lvl="0" indent="-256883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недрение нового инструмента: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зор </a:t>
              </a: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сходов 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поручение в КУГФ до 2030 г.) </a:t>
              </a:r>
            </a:p>
            <a:p>
              <a:pPr marL="256883" marR="0" lvl="0" indent="-256883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тизация видов оценок и мониторинга и повышение их роли при принятии бюджетных решений с обязательной публикацией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зультатов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оручение в КУГФ до 2030 г.) </a:t>
              </a:r>
            </a:p>
          </p:txBody>
        </p: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310" y="3233446"/>
              <a:ext cx="8926751" cy="27792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13" name="Прямоугольник 12"/>
            <p:cNvSpPr/>
            <p:nvPr/>
          </p:nvSpPr>
          <p:spPr>
            <a:xfrm>
              <a:off x="1935286" y="3373906"/>
              <a:ext cx="7072936" cy="746176"/>
            </a:xfrm>
            <a:prstGeom prst="rect">
              <a:avLst/>
            </a:prstGeom>
          </p:spPr>
          <p:txBody>
            <a:bodyPr wrap="square" lIns="91261" tIns="45630" rIns="91261" bIns="45630">
              <a:spAutoFit/>
            </a:bodyPr>
            <a:lstStyle/>
            <a:p>
              <a:pPr marL="256883" marR="0" lvl="0" indent="-256883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тизация в отдельную статью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сех норм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публикации и обсуждению документов </a:t>
              </a:r>
              <a:b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 представительных органах, на общественных советах, на собрании местного сообщества </a:t>
              </a:r>
            </a:p>
            <a:p>
              <a:pPr marL="256883" marR="0" lvl="0" indent="-256883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тизация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 отдельную статью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орм по ответственности участников бюджетного процесса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за нарушение бюджетного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законодательства 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8094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1"/>
          <p:cNvSpPr txBox="1">
            <a:spLocks/>
          </p:cNvSpPr>
          <p:nvPr/>
        </p:nvSpPr>
        <p:spPr>
          <a:xfrm>
            <a:off x="0" y="33630"/>
            <a:ext cx="6120322" cy="307544"/>
          </a:xfrm>
          <a:prstGeom prst="rect">
            <a:avLst/>
          </a:prstGeom>
        </p:spPr>
        <p:txBody>
          <a:bodyPr wrap="square" lIns="91211" tIns="45605" rIns="91211" bIns="45605"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ts val="204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097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8404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122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5428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9762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33355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6941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0536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899297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Переход к модели «Управление результатами»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ahoma" panose="020B0604030504040204" pitchFamily="34" charset="0"/>
              <a:sym typeface="Arial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57398" y="452860"/>
            <a:ext cx="7661399" cy="4663964"/>
            <a:chOff x="458213" y="1479011"/>
            <a:chExt cx="6655930" cy="4649440"/>
          </a:xfrm>
        </p:grpSpPr>
        <p:sp>
          <p:nvSpPr>
            <p:cNvPr id="5" name="TextBox 4"/>
            <p:cNvSpPr txBox="1"/>
            <p:nvPr/>
          </p:nvSpPr>
          <p:spPr>
            <a:xfrm>
              <a:off x="496604" y="1531766"/>
              <a:ext cx="1454027" cy="1104364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lIns="91261" tIns="45630" rIns="91261" bIns="45630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зор расходов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бюджетный/</a:t>
              </a:r>
            </a:p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тратегический/ инвестиционный)</a:t>
              </a:r>
              <a:endPara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рекомендации ОЭСР отражение нашло в Концепции госфинансов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58213" y="4787734"/>
              <a:ext cx="1492418" cy="828228"/>
            </a:xfrm>
            <a:prstGeom prst="rect">
              <a:avLst/>
            </a:prstGeom>
            <a:noFill/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lIns="91261" tIns="45630" rIns="91261" bIns="45630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solidFill>
                    <a:schemeClr val="accent1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 оценки результатов</a:t>
              </a:r>
            </a:p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нструмент БОР, нашел отражение в Концепции госфинансов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77409" y="3000511"/>
              <a:ext cx="1473222" cy="460046"/>
            </a:xfrm>
            <a:prstGeom prst="rect">
              <a:avLst/>
            </a:prstGeom>
            <a:noFill/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lIns="91261" tIns="45630" rIns="91261" bIns="45630" rtlCol="0">
              <a:spAutoFit/>
            </a:bodyPr>
            <a:lstStyle>
              <a:defPPr>
                <a:defRPr lang="ru-RU"/>
              </a:defPPr>
              <a:lvl1pPr>
                <a:defRPr sz="1400" b="1"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аудит и финконтроль 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009522" y="1479011"/>
              <a:ext cx="5104621" cy="1380501"/>
            </a:xfrm>
            <a:prstGeom prst="rect">
              <a:avLst/>
            </a:prstGeom>
            <a:noFill/>
          </p:spPr>
          <p:txBody>
            <a:bodyPr wrap="square" lIns="91261" tIns="45630" rIns="91261" bIns="45630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водится с целью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птимизации расходов бюджета и перераспределения бюджетных средств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 периодичностью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дин раз в три года при: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зработке планов развития (стратегический , </a:t>
              </a:r>
              <a:r>
                <a:rPr kumimoji="0" lang="ru-RU" sz="1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нвестиционный обзор</a:t>
              </a: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)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пределении лимитов на 3 года по базовым безусловным расходам (бюджетный обзор)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формировании объемов ТОХ по местным бюджетам 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ожет проводиться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и разработке документов СГП и в иных случаях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решению Правительства/МИО </a:t>
              </a: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после кризиса для определения резервов, при разработке реформ и др.)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2043165" y="4686587"/>
              <a:ext cx="4979154" cy="1441864"/>
            </a:xfrm>
            <a:prstGeom prst="rect">
              <a:avLst/>
            </a:prstGeom>
          </p:spPr>
          <p:txBody>
            <a:bodyPr wrap="square" lIns="91261" tIns="45630" rIns="91261" bIns="4563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   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тоги оценки результатов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именяются/ обсуждаются/публикуются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 всех этапах планирования/исполнения бюджета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    Органы, осуществляющие оценку (документов СГП, планов развития, госимущества, ГИП) направляют в уполномоченные органы по планированию и исполнению бюджета результаты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о 1 мая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    Оценка содержит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комендации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по повышению результативности и эффективности планирования и использования бюджетных средств и активов государства 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2043165" y="3538951"/>
              <a:ext cx="5070978" cy="1089023"/>
            </a:xfrm>
            <a:prstGeom prst="rect">
              <a:avLst/>
            </a:prstGeom>
          </p:spPr>
          <p:txBody>
            <a:bodyPr wrap="square" lIns="91261" tIns="45630" rIns="91261" bIns="4563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зультаты мониторинга: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именяются при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инятии решений и для формирования отчетности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убликуются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1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отдельная статья) 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За качество мониторинга предусмотрена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тветственность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первого руководителя 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      </a:t>
              </a: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ейчас нормы по мониторингу и по публикации их результатов     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      фрагментарно регламентированы в отдельных статьях</a:t>
              </a:r>
            </a:p>
          </p:txBody>
        </p: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8214" y="2894745"/>
              <a:ext cx="6422972" cy="19205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>
              <a:off x="470895" y="4707854"/>
              <a:ext cx="6418040" cy="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5688AC7-17F0-7F78-ECEE-3CA3168A623B}"/>
                </a:ext>
              </a:extLst>
            </p:cNvPr>
            <p:cNvSpPr txBox="1"/>
            <p:nvPr/>
          </p:nvSpPr>
          <p:spPr>
            <a:xfrm>
              <a:off x="458214" y="3619974"/>
              <a:ext cx="1492418" cy="460046"/>
            </a:xfrm>
            <a:prstGeom prst="rect">
              <a:avLst/>
            </a:prstGeom>
            <a:noFill/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lIns="91261" tIns="45630" rIns="91261" bIns="45630" rtlCol="0">
              <a:spAutoFit/>
            </a:bodyPr>
            <a:lstStyle>
              <a:defPPr>
                <a:defRPr lang="ru-RU"/>
              </a:defPPr>
              <a:lvl1pPr>
                <a:defRPr sz="1400" b="1"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 мониторинга 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CBBAA76-0B31-84E1-F6D4-79B4B2573219}"/>
                </a:ext>
              </a:extLst>
            </p:cNvPr>
            <p:cNvSpPr txBox="1"/>
            <p:nvPr/>
          </p:nvSpPr>
          <p:spPr>
            <a:xfrm>
              <a:off x="2049981" y="2981021"/>
              <a:ext cx="4979154" cy="598115"/>
            </a:xfrm>
            <a:prstGeom prst="rect">
              <a:avLst/>
            </a:prstGeom>
            <a:noFill/>
          </p:spPr>
          <p:txBody>
            <a:bodyPr wrap="square" lIns="91261" tIns="45630" rIns="91261" bIns="45630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зультаты используются для повышения 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эффективности управления и использования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ных средств</a:t>
              </a: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1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      </a:t>
              </a: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гулируется законом о госаудите и финконтроле</a:t>
              </a:r>
            </a:p>
          </p:txBody>
        </p: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80073CD0-D06B-954F-33BB-55B468DCEA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8214" y="3538951"/>
              <a:ext cx="6422972" cy="19205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</p:grp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>
            <a:off x="7609574" y="442931"/>
            <a:ext cx="16761" cy="4700571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Группа 19"/>
          <p:cNvGrpSpPr/>
          <p:nvPr/>
        </p:nvGrpSpPr>
        <p:grpSpPr>
          <a:xfrm>
            <a:off x="7593993" y="641890"/>
            <a:ext cx="1501242" cy="2435870"/>
            <a:chOff x="7626485" y="1184035"/>
            <a:chExt cx="1318530" cy="2435870"/>
          </a:xfrm>
        </p:grpSpPr>
        <p:sp>
          <p:nvSpPr>
            <p:cNvPr id="21" name="TextBox 20"/>
            <p:cNvSpPr txBox="1"/>
            <p:nvPr/>
          </p:nvSpPr>
          <p:spPr>
            <a:xfrm>
              <a:off x="7626485" y="1511817"/>
              <a:ext cx="1318530" cy="2108088"/>
            </a:xfrm>
            <a:prstGeom prst="rect">
              <a:avLst/>
            </a:prstGeom>
            <a:noFill/>
          </p:spPr>
          <p:txBody>
            <a:bodyPr wrap="square" lIns="91261" tIns="45630" rIns="91261" bIns="45630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</a:defRPr>
              </a:lvl1pPr>
            </a:lstStyle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ализация БОР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и принятии бюджетных и других решений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вышение качества принимаемых решений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kk-KZ" sz="11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636811" y="1184035"/>
              <a:ext cx="1148645" cy="276817"/>
            </a:xfrm>
            <a:prstGeom prst="rect">
              <a:avLst/>
            </a:prstGeom>
            <a:noFill/>
          </p:spPr>
          <p:txBody>
            <a:bodyPr wrap="square" lIns="91261" tIns="45630" rIns="91261" bIns="45630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Эффект:</a:t>
              </a: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7869316" y="23021"/>
            <a:ext cx="11628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должение</a:t>
            </a: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0547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16236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1650836" y="2422231"/>
            <a:ext cx="73128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6883" marR="0" lvl="0" indent="-256883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истематизация в отдельную главу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 исключением дублирующих норм действующих положений по формированию и использованию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ацфонда (отдельный слайд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45077" y="373487"/>
            <a:ext cx="8986700" cy="4108361"/>
            <a:chOff x="44143" y="490660"/>
            <a:chExt cx="9017455" cy="3968175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98100" y="827093"/>
              <a:ext cx="1591447" cy="64633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kk-K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новы </a:t>
              </a:r>
            </a:p>
            <a:p>
              <a:pPr marL="0" marR="0" lvl="0" indent="0" algn="ct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kk-K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правления госфинансами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4144" y="490660"/>
              <a:ext cx="8988805" cy="27699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недрение НОВОГО раздела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: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«3.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правление государственными финансами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»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 определением глав: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641789" y="853596"/>
              <a:ext cx="7419809" cy="12311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302" marR="0" lvl="0" indent="-171302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пределение комплекса мероприятий для управления госфинансами </a:t>
              </a:r>
            </a:p>
            <a:p>
              <a:pPr marL="171302" marR="0" lvl="0" indent="-171302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недрение понятий: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«государственные финансы»; «бюджетная политика»; «центральный уполномоченный орган по бюджетной политике»</a:t>
              </a:r>
            </a:p>
            <a:p>
              <a:pPr marL="171302" marR="0" lvl="0" indent="-171302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пределение инструментов по управлению госфинансами</a:t>
              </a:r>
            </a:p>
            <a:p>
              <a:pPr marL="171302" marR="0" lvl="0" indent="-171302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гламентация деятельности госорганов в управлении госфинансов</a:t>
              </a:r>
            </a:p>
            <a:p>
              <a:pPr marL="515393" marR="0" lvl="1" indent="-171302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НЭ 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– общая координация, </a:t>
              </a: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зработка концепций (</a:t>
              </a:r>
              <a:r>
                <a:rPr kumimoji="0" lang="ru-RU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онцепция управления госфинансами),</a:t>
              </a:r>
              <a:r>
                <a:rPr kumimoji="0" lang="ru-RU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гноза параметров </a:t>
              </a:r>
              <a:r>
                <a:rPr kumimoji="0" lang="ru-RU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финансов 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/>
              </a:r>
              <a:b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 установление пределов по бюджетным правилам, оценка состояния, контроль за соблюдением бюджетных правил</a:t>
              </a:r>
            </a:p>
            <a:p>
              <a:pPr marL="515393" marR="0" lvl="1" indent="-171302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Ф 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– мониторинг состояния госфинансов и публикация сведений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98100" y="2370902"/>
              <a:ext cx="1591447" cy="461665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циональный фонд</a:t>
              </a: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7427" y="2270135"/>
              <a:ext cx="8895522" cy="4534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>
              <a:off x="108778" y="2955763"/>
              <a:ext cx="8924171" cy="3928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12" name="Прямоугольник 11"/>
            <p:cNvSpPr/>
            <p:nvPr/>
          </p:nvSpPr>
          <p:spPr>
            <a:xfrm>
              <a:off x="44143" y="3184380"/>
              <a:ext cx="1717840" cy="461665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небюджетные фонды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650836" y="3192813"/>
              <a:ext cx="7382113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56883" marR="0" lvl="0" indent="-256883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гламентация положений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внебюджетным фондам и их  целевое назначение, консолидация и отчетность по ним</a:t>
              </a:r>
            </a:p>
            <a:p>
              <a:pPr marL="256883" marR="0" lvl="0" indent="-256883" algn="just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тизация действующих положений по внебюджетным фондам: ГФСС, ФСМС,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Фонд компенсации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терпевшим,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Фонд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ддержки инфраструктуры образования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в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тдельную главу</a:t>
              </a:r>
              <a:endPara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>
              <a:off x="137427" y="3865924"/>
              <a:ext cx="8895522" cy="4810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15" name="Прямоугольник 14"/>
            <p:cNvSpPr/>
            <p:nvPr/>
          </p:nvSpPr>
          <p:spPr>
            <a:xfrm>
              <a:off x="44143" y="3997170"/>
              <a:ext cx="1717840" cy="461665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899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убъекты квазигоссектора 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650836" y="4032111"/>
              <a:ext cx="741076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гламентация общих положений об участии субъектов квазигосударственного сектора в бюджетном процессе /систематизация норм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E078573-ABA6-CA30-3DE7-23DADAA97038}"/>
              </a:ext>
            </a:extLst>
          </p:cNvPr>
          <p:cNvSpPr txBox="1"/>
          <p:nvPr/>
        </p:nvSpPr>
        <p:spPr>
          <a:xfrm>
            <a:off x="0" y="6730"/>
            <a:ext cx="81867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4. Определе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предельных параметров бюджетной политики</a:t>
            </a:r>
          </a:p>
        </p:txBody>
      </p:sp>
    </p:spTree>
    <p:extLst>
      <p:ext uri="{BB962C8B-B14F-4D97-AF65-F5344CB8AC3E}">
        <p14:creationId xmlns:p14="http://schemas.microsoft.com/office/powerpoint/2010/main" val="2169326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05888" y="4946867"/>
            <a:ext cx="413360" cy="219381"/>
          </a:xfrm>
        </p:spPr>
        <p:txBody>
          <a:bodyPr/>
          <a:lstStyle/>
          <a:p>
            <a:pPr defTabSz="899297">
              <a:buClrTx/>
              <a:defRPr/>
            </a:pPr>
            <a:r>
              <a:rPr lang="en-US" sz="800" kern="1200" dirty="0" smtClean="0">
                <a:solidFill>
                  <a:schemeClr val="tx1"/>
                </a:solidFill>
                <a:latin typeface="Calibri"/>
                <a:ea typeface="+mn-ea"/>
                <a:cs typeface="Arial" panose="020B0604020202020204" pitchFamily="34" charset="0"/>
              </a:rPr>
              <a:t>17</a:t>
            </a:r>
            <a:endParaRPr lang="ru-RU" sz="800" kern="1200" dirty="0">
              <a:solidFill>
                <a:schemeClr val="tx1"/>
              </a:solidFill>
              <a:latin typeface="Calibri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36516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-2430" y="5143500"/>
            <a:ext cx="8935341" cy="2277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square" lIns="99686" rIns="31650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</a:lstStyle>
          <a:p>
            <a:pPr marL="85715" defTabSz="69972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недрение расширенного бюджета</a:t>
            </a:r>
            <a:endParaRPr lang="en-GB" sz="1200" kern="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3" name="Rectangle 6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5421" y="5186188"/>
            <a:ext cx="8935341" cy="2277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square" lIns="99686" rIns="31650" rtlCol="0" anchor="ctr" anchorCtr="0">
            <a:noAutofit/>
          </a:bodyPr>
          <a:lstStyle>
            <a:defPPr>
              <a:defRPr lang="en-US"/>
            </a:defPPr>
            <a:lvl1pPr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</a:lstStyle>
          <a:p>
            <a:pPr marL="85715" defTabSz="69972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en-GB" sz="1200" kern="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5" name="Текст 2"/>
          <p:cNvSpPr txBox="1">
            <a:spLocks/>
          </p:cNvSpPr>
          <p:nvPr/>
        </p:nvSpPr>
        <p:spPr>
          <a:xfrm>
            <a:off x="115421" y="515345"/>
            <a:ext cx="8660438" cy="678241"/>
          </a:xfrm>
          <a:prstGeom prst="rect">
            <a:avLst/>
          </a:prstGeom>
        </p:spPr>
        <p:txBody>
          <a:bodyPr anchor="ctr"/>
          <a:lstStyle>
            <a:lvl1pPr marL="342878" indent="-342878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03" indent="-285732" algn="l" defTabSz="91434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7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8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8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9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0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1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0801" indent="0" algn="just" defTabSz="386315">
              <a:spcBef>
                <a:spcPts val="0"/>
              </a:spcBef>
              <a:spcAft>
                <a:spcPts val="600"/>
              </a:spcAft>
              <a:buClrTx/>
              <a:buNone/>
              <a:tabLst>
                <a:tab pos="149876" algn="l"/>
              </a:tabLst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Имплементация отдельных подходов при формировании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/>
            </a:r>
            <a:b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Tahoma" panose="020B0604030504040204" pitchFamily="34" charset="0"/>
              </a:rPr>
            </a:b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проекта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Tahoma" panose="020B0604030504040204" pitchFamily="34" charset="0"/>
              </a:rPr>
              <a:t>республиканского бюджета на 2023-2025 год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15421" y="1272416"/>
            <a:ext cx="8743226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3370" indent="-342569" algn="just" defTabSz="386315">
              <a:spcAft>
                <a:spcPts val="600"/>
              </a:spcAft>
              <a:buClrTx/>
              <a:buFont typeface="Wingdings" panose="05000000000000000000" pitchFamily="2" charset="2"/>
              <a:buChar char="§"/>
              <a:tabLst>
                <a:tab pos="149876" algn="l"/>
              </a:tabLst>
              <a:defRPr/>
            </a:pPr>
            <a:r>
              <a:rPr lang="ru-RU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Консолидация государственных финансов</a:t>
            </a:r>
          </a:p>
          <a:p>
            <a:pPr marL="642938" lvl="1" indent="-285750"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недрение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сширенного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бюджета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утем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нтеграции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консолидированный бюджет двух внебюджетных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фондов: Фонд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циального медицинского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трахования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Государственный фонд социального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трахования</a:t>
            </a:r>
          </a:p>
          <a:p>
            <a:pPr marL="642938" lvl="1" indent="-285750"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ыпуск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ервого аналитического отчета о бюджетных рисках и долгосрочной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стойчивости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 внесение его в Парламент РК в составе материалов по проекту республиканского бюджета </a:t>
            </a:r>
          </a:p>
          <a:p>
            <a:pPr marL="443370" indent="-342569" algn="just" defTabSz="386315">
              <a:spcAft>
                <a:spcPts val="600"/>
              </a:spcAft>
              <a:buClrTx/>
              <a:buFont typeface="Wingdings" panose="05000000000000000000" pitchFamily="2" charset="2"/>
              <a:buChar char="§"/>
              <a:tabLst>
                <a:tab pos="149876" algn="l"/>
              </a:tabLst>
              <a:defRPr/>
            </a:pPr>
            <a:r>
              <a:rPr lang="ru-RU" sz="1600" b="1" kern="1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Восстановление </a:t>
            </a:r>
            <a:r>
              <a:rPr lang="ru-RU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сбалансированности и устойчивости бюджета</a:t>
            </a:r>
          </a:p>
          <a:p>
            <a:pPr marL="642937" indent="-285750"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именение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нтрцикличных бюджетных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авил: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азмер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гарантированного трансферта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е превышает объем поступлений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ямых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логов в Национальный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фонд;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ост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сходов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граничен уровнем долгосрочного экономического роста,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величенного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 цель по инфляции</a:t>
            </a:r>
          </a:p>
          <a:p>
            <a:pPr marL="642937" indent="-285750"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генерирование новых источников пополнения доходной базы</a:t>
            </a:r>
          </a:p>
          <a:p>
            <a:pPr marL="642937" indent="-285750"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нцентрация бюджетных расходов на приоритетных направлениях социально-экономического развития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1366" y="36406"/>
            <a:ext cx="85674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дачи управления государственными финансам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869316" y="23021"/>
            <a:ext cx="11628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должение</a:t>
            </a: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8610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E078573-ABA6-CA30-3DE7-23DADAA97038}"/>
              </a:ext>
            </a:extLst>
          </p:cNvPr>
          <p:cNvSpPr txBox="1"/>
          <p:nvPr/>
        </p:nvSpPr>
        <p:spPr>
          <a:xfrm>
            <a:off x="-21657" y="59210"/>
            <a:ext cx="81867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Определе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предельных параметров бюджетной полит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A3549B-064B-8813-E300-8597CC143FD9}"/>
              </a:ext>
            </a:extLst>
          </p:cNvPr>
          <p:cNvSpPr txBox="1"/>
          <p:nvPr/>
        </p:nvSpPr>
        <p:spPr>
          <a:xfrm>
            <a:off x="7812804" y="69377"/>
            <a:ext cx="1148316" cy="276813"/>
          </a:xfrm>
          <a:prstGeom prst="rect">
            <a:avLst/>
          </a:prstGeom>
          <a:noFill/>
        </p:spPr>
        <p:txBody>
          <a:bodyPr wrap="square" lIns="91225" tIns="45612" rIns="91225" bIns="45612" rtlCol="0">
            <a:spAutoFit/>
          </a:bodyPr>
          <a:lstStyle/>
          <a:p>
            <a:pPr marL="0" marR="0" lvl="0" indent="0" algn="l" defTabSz="914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k-KZ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rPr>
              <a:t>продолжение</a:t>
            </a: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22636" y="4784032"/>
            <a:ext cx="3768765" cy="246221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огноз социально-экономического развития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142254" y="442881"/>
            <a:ext cx="8859491" cy="4285484"/>
            <a:chOff x="102338" y="442881"/>
            <a:chExt cx="8859491" cy="4285484"/>
          </a:xfrm>
        </p:grpSpPr>
        <p:sp>
          <p:nvSpPr>
            <p:cNvPr id="25" name="TextBox 24"/>
            <p:cNvSpPr txBox="1"/>
            <p:nvPr/>
          </p:nvSpPr>
          <p:spPr>
            <a:xfrm>
              <a:off x="102338" y="442881"/>
              <a:ext cx="8859491" cy="284868"/>
            </a:xfrm>
            <a:prstGeom prst="rect">
              <a:avLst/>
            </a:prstGeom>
            <a:noFill/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правление госфинансами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 целях реализации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ложении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УГФ до 2030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а (</a:t>
              </a:r>
              <a:r>
                <a:rPr kumimoji="0" lang="ru-RU" sz="10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 контроле согласно плана действия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)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02338" y="875049"/>
              <a:ext cx="2000024" cy="246221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 бюджетных правил 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2189104" y="875270"/>
              <a:ext cx="1762381" cy="553998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правление долговыми обязательствами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сектора </a:t>
              </a:r>
              <a:endPara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5851786" y="898214"/>
              <a:ext cx="1544823" cy="400110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Аналитический отчет о бюджетных рисках 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7502653" y="898214"/>
              <a:ext cx="1459176" cy="553998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Аналитический отчет о налоговых расходах 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188387" y="1469726"/>
              <a:ext cx="1843409" cy="286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ействующие нормы: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истематизация действующих норм по управлению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олговыми обязательствами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сектора: 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граничение роста долговой нагрузки на бюджет 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едопущение дефолтов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нижение валютных рисков</a:t>
              </a:r>
            </a:p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вышение эффективности и дисциплины использования внешних и внутренних заимствований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102338" y="1152269"/>
              <a:ext cx="2086049" cy="3323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ействующие нормы:</a:t>
              </a:r>
            </a:p>
            <a:p>
              <a:pPr marL="228378" marR="0" lvl="0" indent="-228378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ланирование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а в рамках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ных правил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ограничению объема гарантированного трансферта и темпов роста расходов республиканского бюджета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ополнительно из положений Концепции: </a:t>
              </a:r>
            </a:p>
            <a:p>
              <a:pPr marL="228378" marR="0" lvl="0" indent="-228378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гламентация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лучаев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тклонения от правил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 возврата к первоначальной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траектории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 случаях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ризиса и ЧС</a:t>
              </a:r>
            </a:p>
            <a:p>
              <a:pPr marL="228378" marR="0" lvl="0" indent="-228378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›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+ привлечения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целевого трансферта из Национального фонда по поручениям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езидента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</a:t>
              </a:r>
              <a:r>
                <a:rPr lang="ru-RU" sz="800" i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дополнительно предлагается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)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5820631" y="1487994"/>
              <a:ext cx="1607135" cy="2154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302" marR="0" lvl="0" indent="-171302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уществление анализа фискальных рисков, влияющих на бюджетные параметры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/>
              </a:r>
              <a:b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поручению Президента в рамках работы ВСР был </a:t>
              </a:r>
              <a:r>
                <a:rPr kumimoji="0" lang="ru-RU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зработан при техпомощи МВФ в 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2022 году и </a:t>
              </a:r>
              <a:r>
                <a:rPr kumimoji="0" lang="ru-RU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несен 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 Парламент при формировании </a:t>
              </a:r>
              <a:r>
                <a:rPr kumimoji="0" lang="ru-RU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Б в составе материалов к проекту РБ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)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478663" y="1525936"/>
              <a:ext cx="1459176" cy="1846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302" marR="0" lvl="0" indent="-17130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еспечение раскрытия информации об упущенных доходах от налоговых льгот и освобождений (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дготовка по поручению </a:t>
              </a:r>
              <a:r>
                <a:rPr kumimoji="0" lang="ru-RU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Администрации Президента и 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комендациям МВФ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) </a:t>
              </a:r>
            </a:p>
          </p:txBody>
        </p:sp>
        <p:sp>
          <p:nvSpPr>
            <p:cNvPr id="37" name="Левая фигурная скобка 36"/>
            <p:cNvSpPr/>
            <p:nvPr/>
          </p:nvSpPr>
          <p:spPr>
            <a:xfrm rot="16200000">
              <a:off x="1971638" y="2668205"/>
              <a:ext cx="298558" cy="3821762"/>
            </a:xfrm>
            <a:prstGeom prst="leftBrace">
              <a:avLst/>
            </a:prstGeom>
            <a:noFill/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38" name="Левая фигурная скобка 37"/>
            <p:cNvSpPr/>
            <p:nvPr/>
          </p:nvSpPr>
          <p:spPr>
            <a:xfrm rot="16200000">
              <a:off x="7361303" y="2224735"/>
              <a:ext cx="234719" cy="2877425"/>
            </a:xfrm>
            <a:prstGeom prst="leftBrace">
              <a:avLst/>
            </a:prstGeom>
            <a:noFill/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6117845" y="3762911"/>
              <a:ext cx="2811307" cy="400110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едставление в Парламент </a:t>
              </a:r>
              <a:b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</a:b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 составе материалов к проекту РБ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031796" y="891060"/>
              <a:ext cx="1682026" cy="400110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" lastClr="FFFFFF">
                  <a:lumMod val="65000"/>
                </a:sys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олгосрочный прогноз </a:t>
              </a:r>
            </a:p>
            <a:p>
              <a:pPr marL="0" marR="0" lvl="0" indent="0" algn="ctr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звития РК на 10 лет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927723" y="1429268"/>
              <a:ext cx="1924063" cy="24622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зрабатывается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аждые три года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азе различных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ценариев: базовый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,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цплан развития,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глеродной нейтральности и др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.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одержит информацию по направлениям и динамике развития отраслей экономики и оценку устойчивости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финансов (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едлагается разработать в рамках </a:t>
              </a:r>
              <a:r>
                <a:rPr kumimoji="0" lang="ru-RU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еобходимости исполнения поручений 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лавы </a:t>
              </a:r>
              <a:r>
                <a:rPr kumimoji="0" lang="ru-RU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ударства. Далее  </a:t>
              </a:r>
              <a:r>
                <a:rPr kumimoji="0" lang="ru-RU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тдельный слайд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)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4399415" y="4258948"/>
            <a:ext cx="455787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едлагаемые инструменты являются требованиями международных стандартов, особенно важно при </a:t>
            </a:r>
            <a:r>
              <a:rPr kumimoji="0" lang="ru-RU" sz="900" b="1" i="1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осуществлении рейтинга страны</a:t>
            </a:r>
            <a:r>
              <a:rPr kumimoji="0" lang="ru-RU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, </a:t>
            </a:r>
            <a:r>
              <a:rPr kumimoji="0" lang="ru-RU" sz="900" b="1" i="1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заимствовании средств для финансирования дефицита</a:t>
            </a:r>
            <a:r>
              <a:rPr kumimoji="0" lang="ru-RU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 МФО включают их в дорожные карты в качестве основных мероприятий для обеспечения </a:t>
            </a:r>
            <a:r>
              <a:rPr kumimoji="0" lang="ru-RU" sz="900" b="1" i="1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едсказуемости и устойчивости </a:t>
            </a:r>
            <a:r>
              <a:rPr kumimoji="0" lang="ru-RU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целей налогово-бюджетной политики</a:t>
            </a:r>
            <a:endParaRPr kumimoji="0" lang="ru-RU" sz="900" b="0" i="1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1607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0371" y="49495"/>
            <a:ext cx="8671792" cy="275719"/>
          </a:xfrm>
        </p:spPr>
        <p:txBody>
          <a:bodyPr>
            <a:noAutofit/>
          </a:bodyPr>
          <a:lstStyle/>
          <a:p>
            <a:pPr algn="l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Постановка задачи для  Правительства по бюджетной политике 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09361" y="433842"/>
            <a:ext cx="8725280" cy="297931"/>
          </a:xfrm>
        </p:spPr>
        <p:txBody>
          <a:bodyPr wrap="square">
            <a:noAutofit/>
          </a:bodyPr>
          <a:lstStyle/>
          <a:p>
            <a:pPr marL="0" indent="0" algn="ctr" fontAlgn="base">
              <a:buNone/>
            </a:pPr>
            <a:r>
              <a:rPr lang="ru-RU" sz="1600" b="1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Послания </a:t>
            </a:r>
            <a:r>
              <a:rPr lang="ru-RU" sz="1600" b="1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Главы государства народу </a:t>
            </a:r>
            <a:r>
              <a:rPr lang="ru-RU" sz="1600" b="1" dirty="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rPr>
              <a:t>Казахстана</a:t>
            </a:r>
            <a:endParaRPr lang="ru-RU" sz="1600" b="1" dirty="0">
              <a:solidFill>
                <a:schemeClr val="tx2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73617" y="4941605"/>
            <a:ext cx="370384" cy="273844"/>
          </a:xfrm>
        </p:spPr>
        <p:txBody>
          <a:bodyPr/>
          <a:lstStyle/>
          <a:p>
            <a:pPr defTabSz="914378">
              <a:buClrTx/>
            </a:pPr>
            <a:fld id="{C8FAE728-353B-469A-8C71-9ED453E3CE90}" type="slidenum">
              <a:rPr lang="ru-RU" sz="8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defTabSz="914378">
                <a:buClrTx/>
              </a:pPr>
              <a:t>1</a:t>
            </a:fld>
            <a:endParaRPr lang="ru-RU" sz="800" kern="1200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3779913" y="1131590"/>
            <a:ext cx="5112568" cy="3635441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80971" indent="-180971" algn="ctr" defTabSz="914378">
              <a:spcAft>
                <a:spcPts val="1800"/>
              </a:spcAft>
              <a:buClr>
                <a:srgbClr val="1F497D"/>
              </a:buClr>
            </a:pPr>
            <a:endParaRPr lang="ru-RU" sz="1200" kern="1200" dirty="0">
              <a:solidFill>
                <a:prstClr val="black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3" y="823911"/>
            <a:ext cx="2920805" cy="2285297"/>
          </a:xfrm>
          <a:prstGeom prst="rect">
            <a:avLst/>
          </a:prstGeom>
        </p:spPr>
      </p:pic>
      <p:cxnSp>
        <p:nvCxnSpPr>
          <p:cNvPr id="1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1" y="382877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/>
          <p:cNvGrpSpPr/>
          <p:nvPr/>
        </p:nvGrpSpPr>
        <p:grpSpPr>
          <a:xfrm>
            <a:off x="3213690" y="743603"/>
            <a:ext cx="5559927" cy="4201884"/>
            <a:chOff x="3592609" y="1051831"/>
            <a:chExt cx="5174042" cy="4313362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3592609" y="1270906"/>
              <a:ext cx="5174042" cy="7424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914378" fontAlgn="base"/>
              <a:r>
                <a:rPr lang="en-US" sz="10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r>
                <a:rPr lang="ru-RU" sz="1000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редстоит 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выработать </a:t>
              </a:r>
              <a:r>
                <a:rPr lang="ru-RU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новую бюджетную политику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, бережливую и ответственную. Финансировать следует только </a:t>
              </a:r>
              <a:r>
                <a:rPr lang="ru-RU" sz="10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риоритетные направления </a:t>
              </a:r>
              <a:r>
                <a:rPr lang="ru-RU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и проекты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. Нужно разработать свод ключевых бюджетных коэффициентов и правил</a:t>
              </a:r>
              <a:r>
                <a:rPr lang="ru-RU" sz="1000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.</a:t>
              </a:r>
              <a:r>
                <a:rPr lang="en-US" sz="10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endParaRPr lang="ru-RU" sz="1000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just" defTabSz="914378" fontAlgn="base"/>
              <a:endParaRPr lang="ru-RU" sz="1100" b="1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3603265" y="2051437"/>
              <a:ext cx="5163386" cy="20928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fontAlgn="base"/>
              <a:r>
                <a:rPr lang="en-US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Для восстановления активов Национального фонда следует ускорить </a:t>
              </a:r>
              <a:r>
                <a:rPr lang="ru-RU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внедрение бюджетного правила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. Соответствующие законодательные поправки должны быть приняты до конца нынешнего года.</a:t>
              </a:r>
            </a:p>
            <a:p>
              <a:pPr algn="just" fontAlgn="base"/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 В целом стране необходим </a:t>
              </a:r>
              <a:r>
                <a:rPr lang="ru-RU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свод правил по управлению государственными финансами: госдолгом, бюджетной политикой, Нацфондом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. Прошу Правительство и Национальный банк до конца года подготовить </a:t>
              </a:r>
              <a:r>
                <a:rPr lang="ru-RU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Концепцию управления государственными финансами.</a:t>
              </a:r>
              <a:r>
                <a:rPr lang="en-US" sz="10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endParaRPr lang="ru-RU" sz="1000" b="1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just" fontAlgn="base"/>
              <a:endParaRPr lang="ru-RU" sz="1000" b="1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just" fontAlgn="base"/>
              <a:r>
                <a:rPr lang="en-US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редстоит </a:t>
              </a:r>
              <a:r>
                <a:rPr lang="ru-RU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упростить бюджетные процессы, 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кардинально снизить бюрократию в этом вопросе, расширить применение цифровых инструментов планирования и исполнения бюджета. Необходимо внедрить блочный бюджет с повышением ответственности администраторов бюджетных программ. Правительству нужно разработать пакет поправок в бюджетное законодательство и подзаконные акты.</a:t>
              </a:r>
              <a:r>
                <a:rPr lang="en-US" sz="10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endParaRPr lang="ru-RU" sz="1000" b="1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762208" y="1051831"/>
              <a:ext cx="83484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2020 год</a:t>
              </a:r>
              <a:endParaRPr lang="ru-RU" sz="1200" dirty="0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5756877" y="1838005"/>
              <a:ext cx="83484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2021 </a:t>
              </a:r>
              <a:r>
                <a:rPr lang="ru-RU" sz="12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год</a:t>
              </a:r>
              <a:endParaRPr lang="ru-RU" sz="1200" dirty="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603265" y="4349530"/>
              <a:ext cx="5163386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fontAlgn="base"/>
              <a:r>
                <a:rPr lang="en-US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Модель бюджетной политики будет реформирована путем перехода </a:t>
              </a:r>
              <a:r>
                <a:rPr lang="ru-RU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от «управления бюджетом» к «управлению результатами.</a:t>
              </a:r>
              <a:r>
                <a:rPr lang="en-US" sz="10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endParaRPr lang="ru-RU" sz="1000" b="1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just" fontAlgn="base"/>
              <a:endParaRPr lang="ru-RU" sz="1000" b="1" i="1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just" fontAlgn="base"/>
              <a:r>
                <a:rPr lang="en-US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r>
                <a:rPr lang="ru-RU" sz="1000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Для эффективной реализации обозначенных подходов необходимо принять </a:t>
              </a:r>
              <a:r>
                <a:rPr lang="ru-RU" sz="1000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/>
              </a:r>
              <a:br>
                <a:rPr lang="ru-RU" sz="1000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000" b="1" i="1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новый </a:t>
              </a:r>
              <a:r>
                <a:rPr lang="ru-RU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Бюджетный кодекс.</a:t>
              </a:r>
              <a:r>
                <a:rPr lang="en-US" sz="10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”</a:t>
              </a:r>
              <a:endParaRPr lang="ru-RU" sz="1000" b="1" i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just" fontAlgn="base"/>
              <a:endParaRPr lang="ru-RU" sz="1000" b="1" i="1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756878" y="4102842"/>
              <a:ext cx="83484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i="1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2022 год</a:t>
              </a:r>
              <a:endParaRPr lang="ru-RU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27539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бъект 1"/>
          <p:cNvSpPr txBox="1">
            <a:spLocks/>
          </p:cNvSpPr>
          <p:nvPr/>
        </p:nvSpPr>
        <p:spPr>
          <a:xfrm>
            <a:off x="0" y="52694"/>
            <a:ext cx="8139448" cy="255371"/>
          </a:xfrm>
          <a:prstGeom prst="rect">
            <a:avLst/>
          </a:prstGeom>
        </p:spPr>
        <p:txBody>
          <a:bodyPr lIns="91211" tIns="45605" rIns="91211" bIns="45605"/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ts val="204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097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8404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122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5428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9762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33355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6941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0536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838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0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Долгосрочный прогноз развития РК на 10 лет</a:t>
            </a:r>
          </a:p>
          <a:p>
            <a:pPr marL="0" marR="0" lvl="0" indent="0" algn="l" defTabSz="913838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04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22349" y="465716"/>
            <a:ext cx="6909665" cy="4463034"/>
            <a:chOff x="256773" y="608187"/>
            <a:chExt cx="6717864" cy="3744567"/>
          </a:xfrm>
        </p:grpSpPr>
        <p:sp>
          <p:nvSpPr>
            <p:cNvPr id="5" name="TextBox 4"/>
            <p:cNvSpPr txBox="1"/>
            <p:nvPr/>
          </p:nvSpPr>
          <p:spPr>
            <a:xfrm>
              <a:off x="256773" y="608187"/>
              <a:ext cx="6587081" cy="493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kk-K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ЦЕЛЬ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: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kk-KZ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еспечение соблюдения принципа </a:t>
              </a:r>
              <a:r>
                <a:rPr kumimoji="0" lang="kk-KZ" sz="1200" b="1" i="0" u="sng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алистичности</a:t>
              </a:r>
              <a:r>
                <a:rPr kumimoji="0" lang="kk-KZ" sz="1200" b="1" i="0" u="sng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kk-KZ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ной системы и </a:t>
              </a:r>
              <a:r>
                <a:rPr kumimoji="0" lang="kk-K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финансового обеспечения </a:t>
              </a:r>
              <a:r>
                <a:rPr kumimoji="0" lang="kk-KZ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ализации НПР до 2029 года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45369" y="3500594"/>
              <a:ext cx="6242286" cy="8521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едпосылки:</a:t>
              </a:r>
            </a:p>
            <a:p>
              <a:pPr marL="0" marR="0" lvl="0" indent="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lang="ru-RU" sz="1000" b="1" kern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ручения Президента по обеспечению:</a:t>
              </a:r>
            </a:p>
            <a:p>
              <a:pPr marL="171350" marR="0" lvl="0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анализа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оциально-экономического эффекта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сходов </a:t>
              </a:r>
              <a:endPara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350" marR="0" lvl="0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ценки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стойчивости текущей налогово-бюджетной политики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, оценки влияния на бюджет последствий всех будущих изменений, оценки госдолга и любых политических обязательств, имеющих финансовые последствия для бюджета в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удущем (поручение в рамках ВСР)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256773" y="1160049"/>
              <a:ext cx="6717864" cy="22724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350" marR="0" lvl="0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пределяет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гнозное состояние государственных финансов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350" marR="0" lvl="0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именяется для формирования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алогово-бюджетной политики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 при определении финансовой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еспеченности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окументов СГП при их разработке</a:t>
              </a:r>
            </a:p>
            <a:p>
              <a:pPr marL="171350" marR="0" lvl="0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ключает:</a:t>
              </a:r>
            </a:p>
            <a:p>
              <a:pPr marL="171350" marR="0" lvl="0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endParaRPr kumimoji="0" lang="ru-RU" sz="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515443" marR="0" lvl="1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основанные представления </a:t>
              </a:r>
              <a:r>
                <a:rPr kumimoji="0" lang="ru-RU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 будущем состоянии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 траектории развития 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акроэкономических, отраслевых и финансовых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казателей РК, в т.ч.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гиональных </a:t>
              </a:r>
            </a:p>
            <a:p>
              <a:pPr marL="515443" marR="0" lvl="1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ценка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текущей ситуации и тенденции в различных отраслях экономики, принятые решения и другие факторы, влияющие на состояние госфинансов</a:t>
              </a:r>
            </a:p>
            <a:p>
              <a:pPr marL="515443" marR="0" lvl="1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ценку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удущего эффекта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т государственных расходов </a:t>
              </a:r>
              <a:r>
                <a:rPr kumimoji="0" lang="ru-R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анализ реалистичности выбранных целей, целевых индикаторов, задач, показателей </a:t>
              </a:r>
              <a:r>
                <a:rPr kumimoji="0" lang="ru-RU" sz="10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зультатов в рамках документов СГП)</a:t>
              </a:r>
              <a:endPara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515443" marR="0" lvl="1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гноз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казателей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оциально-экономического развития на десятилетний период</a:t>
              </a:r>
            </a:p>
            <a:p>
              <a:pPr marL="515443" marR="0" lvl="1" indent="-1713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огноз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араметров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финансов на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есятилетний </a:t>
              </a: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ериод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</p:grpSp>
      <p:cxnSp>
        <p:nvCxnSpPr>
          <p:cNvPr id="8" name="Прямая соединительная линия 7"/>
          <p:cNvCxnSpPr/>
          <p:nvPr/>
        </p:nvCxnSpPr>
        <p:spPr>
          <a:xfrm>
            <a:off x="7103836" y="394535"/>
            <a:ext cx="17831" cy="4748965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dash"/>
            <a:miter lim="800000"/>
          </a:ln>
          <a:effectLst/>
        </p:spPr>
      </p:cxnSp>
      <p:sp>
        <p:nvSpPr>
          <p:cNvPr id="11" name="TextBox 10"/>
          <p:cNvSpPr txBox="1"/>
          <p:nvPr/>
        </p:nvSpPr>
        <p:spPr>
          <a:xfrm>
            <a:off x="7128967" y="711009"/>
            <a:ext cx="2015033" cy="3970085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еспечение элементов устойчивости государственных финансов согласно передовой международной практике</a:t>
            </a: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еспечение оценки финансовых возможностей госфинансов при принятии документов СГП и других решений, исходя из целевых значений госфинансов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ценка устойчивости целей налогово-бюджетной политик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28967" y="465716"/>
            <a:ext cx="1076325" cy="311548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marL="0" marR="0" lvl="0" indent="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Эффект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A3549B-064B-8813-E300-8597CC143FD9}"/>
              </a:ext>
            </a:extLst>
          </p:cNvPr>
          <p:cNvSpPr txBox="1"/>
          <p:nvPr/>
        </p:nvSpPr>
        <p:spPr>
          <a:xfrm>
            <a:off x="7812804" y="69377"/>
            <a:ext cx="1148316" cy="276813"/>
          </a:xfrm>
          <a:prstGeom prst="rect">
            <a:avLst/>
          </a:prstGeom>
          <a:noFill/>
        </p:spPr>
        <p:txBody>
          <a:bodyPr wrap="square" lIns="91225" tIns="45612" rIns="91225" bIns="45612" rtlCol="0">
            <a:spAutoFit/>
          </a:bodyPr>
          <a:lstStyle/>
          <a:p>
            <a:pPr marL="0" marR="0" lvl="0" indent="0" algn="l" defTabSz="9140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k-KZ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rPr>
              <a:t>продолжение</a:t>
            </a:r>
            <a:endParaRPr kumimoji="0" lang="ru-RU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4157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V="1">
            <a:off x="0" y="365952"/>
            <a:ext cx="9144000" cy="1713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4725518" y="3976953"/>
            <a:ext cx="3713680" cy="83099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рочные мероприятия/проекты из поручений ГГ/ПМ ВНЕ СГП финансируются через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Фонд развития 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Резерв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езидента/Правительств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3505" y="1777022"/>
            <a:ext cx="2579622" cy="892552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ланы развития ГО/регионов/СКГС </a:t>
            </a:r>
            <a:endParaRPr kumimoji="0" lang="ru-RU" sz="1100" b="1" i="0" u="none" strike="noStrike" kern="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Заключение уполномоченного органа по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госпланированию на соответствие требованиям СГП (МНЭ)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470290" y="1779905"/>
            <a:ext cx="2950682" cy="877163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Бюджетные программы (АБП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табильные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безусловные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лимиты </a:t>
            </a: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доппотребность </a:t>
            </a: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=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отклонение от лимит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целевой индикатор </a:t>
            </a: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 конечный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результат </a:t>
            </a: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=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едофинансированная часть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519775" y="1777022"/>
            <a:ext cx="211846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иоритезация (МФ, ГО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ула новых инициатив из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лана развития, НПА</a:t>
            </a:r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26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462456" y="1081738"/>
            <a:ext cx="8188960" cy="483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Минус 47"/>
          <p:cNvSpPr/>
          <p:nvPr/>
        </p:nvSpPr>
        <p:spPr>
          <a:xfrm>
            <a:off x="2719185" y="520745"/>
            <a:ext cx="534314" cy="424968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50" name="Равно 49"/>
          <p:cNvSpPr/>
          <p:nvPr/>
        </p:nvSpPr>
        <p:spPr>
          <a:xfrm>
            <a:off x="5673859" y="517978"/>
            <a:ext cx="599090" cy="430503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82882" y="3972380"/>
            <a:ext cx="4411122" cy="101566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1" u="sng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Эффек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AD47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ямая увязка стратегического и бюджетного планировани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AD47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основанная приоритезаци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AD47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озрачный механизм</a:t>
            </a:r>
          </a:p>
        </p:txBody>
      </p:sp>
      <p:sp>
        <p:nvSpPr>
          <p:cNvPr id="36" name="Правая фигурная скобка 35"/>
          <p:cNvSpPr/>
          <p:nvPr/>
        </p:nvSpPr>
        <p:spPr>
          <a:xfrm rot="5400000">
            <a:off x="4492183" y="-399456"/>
            <a:ext cx="307778" cy="851060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506596" y="2711906"/>
            <a:ext cx="2144820" cy="969496"/>
          </a:xfrm>
          <a:prstGeom prst="rect">
            <a:avLst/>
          </a:prstGeom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defTabSz="914400" eaLnBrk="1" fontAlgn="auto" latinLnBrk="0" hangingPunct="1">
              <a:buSzTx/>
              <a:buNone/>
              <a:tabLst/>
              <a:defRPr kumimoji="0" sz="1100" b="1" kern="0" spc="0" normalizeH="0" baseline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едофинансированная часть –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едмет рассмотрения на корректировках/уточнениях бюджета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80237" y="400074"/>
            <a:ext cx="1837766" cy="646331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тратегическое и экономическое планирование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420195" y="472336"/>
            <a:ext cx="1592991" cy="461665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Бюджетное планировани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495194" y="1171120"/>
            <a:ext cx="2123483" cy="553998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Ежегодный ПСЭР </a:t>
            </a:r>
            <a:b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а плановый период (МНЭ) </a:t>
            </a:r>
            <a:r>
              <a:rPr kumimoji="0" lang="ru-RU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упрощенный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43505" y="2744562"/>
            <a:ext cx="3468264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 бюджета (РБК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Проверка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расходов по безусловным базовым расходам на соответствие лимиту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Определение лимита по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овым инициативам </a:t>
            </a:r>
            <a:r>
              <a:rPr kumimoji="0" lang="ru-RU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в течение года РБК рассматривает НПА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ацпроекта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резерв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и др.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506595" y="427200"/>
            <a:ext cx="20121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Отклонения от стратегического планировани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506595" y="1169522"/>
            <a:ext cx="23098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Отклонение в </a:t>
            </a: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гнозных 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араметрах (МНЭ)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причина описывается в ПСЭР)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940776" y="2754486"/>
            <a:ext cx="214482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Заключение и перечень не поддержанных расходов на сумму отклонения (МФ)</a:t>
            </a:r>
          </a:p>
        </p:txBody>
      </p:sp>
      <p:cxnSp>
        <p:nvCxnSpPr>
          <p:cNvPr id="29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475068" y="1760338"/>
            <a:ext cx="8188960" cy="483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475068" y="2724995"/>
            <a:ext cx="8188960" cy="483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82882" y="1078367"/>
            <a:ext cx="360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74680" y="1909746"/>
            <a:ext cx="360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82882" y="2783437"/>
            <a:ext cx="3606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918452-AFE3-77BA-E02E-91EF436FB0BF}"/>
              </a:ext>
            </a:extLst>
          </p:cNvPr>
          <p:cNvSpPr txBox="1"/>
          <p:nvPr/>
        </p:nvSpPr>
        <p:spPr>
          <a:xfrm>
            <a:off x="535303" y="1149420"/>
            <a:ext cx="21838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Долгосрочный прогноз развития РК на 10 лет (МНЭ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0" y="17894"/>
            <a:ext cx="844210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kk-KZ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хема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госпланирования </a:t>
            </a:r>
            <a:r>
              <a:rPr kumimoji="0" lang="kk-KZ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 учетом предлагаемых подходов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- резюме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5335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1"/>
          <p:cNvSpPr txBox="1">
            <a:spLocks/>
          </p:cNvSpPr>
          <p:nvPr/>
        </p:nvSpPr>
        <p:spPr>
          <a:xfrm>
            <a:off x="18815" y="21223"/>
            <a:ext cx="8131168" cy="316474"/>
          </a:xfrm>
          <a:prstGeom prst="rect">
            <a:avLst/>
          </a:prstGeom>
        </p:spPr>
        <p:txBody>
          <a:bodyPr lIns="91211" tIns="45605" rIns="91211" bIns="45605"/>
          <a:lstStyle>
            <a:lvl1pPr marL="0" indent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ts val="204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097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8404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122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5428" indent="-171366" algn="l" rtl="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9762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33355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6941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0536" indent="-171800" algn="l" defTabSz="687187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0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rPr>
              <a:t>5. Национальный фонд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063696" y="-479041"/>
            <a:ext cx="938869" cy="276814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marL="0" marR="0" lvl="0" indent="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Эффект:</a:t>
            </a:r>
          </a:p>
        </p:txBody>
      </p:sp>
      <p:cxnSp>
        <p:nvCxnSpPr>
          <p:cNvPr id="1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18815" y="321258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64394" y="476106"/>
            <a:ext cx="7478430" cy="4585639"/>
          </a:xfrm>
          <a:prstGeom prst="rect">
            <a:avLst/>
          </a:prstGeom>
        </p:spPr>
        <p:txBody>
          <a:bodyPr wrap="square" lIns="91211" tIns="45605" rIns="91211" bIns="45605">
            <a:spAutoFit/>
          </a:bodyPr>
          <a:lstStyle/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общение в отдельную главу положения по </a:t>
            </a:r>
            <a:r>
              <a:rPr kumimoji="0" lang="ru-RU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ацфонду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Утверждение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ъема ГТ законом о РБ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(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чс в законе о РБ предусматриваются также статья и отдельным приложением поступления в Нацфонд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)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с упразднением разработки отдельного закона по ГТ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асширение </a:t>
            </a:r>
            <a:r>
              <a:rPr kumimoji="0" lang="ru-RU" sz="10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граничений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на использование средств Нацфонда, исходя из положений Концепции госфинансов до 2030 года:</a:t>
            </a:r>
          </a:p>
          <a:p>
            <a:pPr marL="515393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овые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(из Концепции госфинансов)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:</a:t>
            </a:r>
          </a:p>
          <a:p>
            <a:pPr marL="861106" lvl="1" indent="-171302" defTabSz="689804" fontAlgn="base">
              <a:spcBef>
                <a:spcPct val="0"/>
              </a:spcBef>
              <a:spcAft>
                <a:spcPts val="1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а инвестирование </a:t>
            </a:r>
            <a:r>
              <a:rPr kumimoji="0" lang="ru-RU" sz="1000" i="0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о внутренние финансовые инструменты казахстанских </a:t>
            </a:r>
            <a:r>
              <a:rPr lang="ru-RU" sz="1000" kern="1200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митентов, за исключением приобретения долговых ценных бумаг Фонда национального благосостояния, эмитируемых для реализации стратегических инфраструктурных проектов по поручению Президента Республики Казахстан;</a:t>
            </a:r>
            <a:endParaRPr kumimoji="0" lang="ru-RU" sz="1000" i="0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861106" marR="0" lvl="1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а финансирование и (или) софинансирование текущих расходов бюджета в виде целевых трансфертов</a:t>
            </a:r>
          </a:p>
          <a:p>
            <a:pPr marL="515393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Уточнение редакцию</a:t>
            </a:r>
            <a:r>
              <a:rPr kumimoji="0" lang="ru-RU" sz="1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действующих норм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:</a:t>
            </a:r>
          </a:p>
          <a:p>
            <a:pPr marL="861106" lvl="1" indent="-171302" defTabSz="689804" fontAlgn="base">
              <a:spcBef>
                <a:spcPct val="0"/>
              </a:spcBef>
              <a:spcAft>
                <a:spcPts val="1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sz="1000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кредитование физических и юридических лиц, в том числе за счет целевых трансфертов из Национального фонда Республики Казахстан;</a:t>
            </a:r>
          </a:p>
          <a:p>
            <a:pPr marL="861106" lvl="1" indent="-171302" defTabSz="689804" fontAlgn="base">
              <a:spcBef>
                <a:spcPct val="0"/>
              </a:spcBef>
              <a:spcAft>
                <a:spcPts val="1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sz="1000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качестве обеспечения исполнения долговых обязательств по государственным и негосударственным займам;</a:t>
            </a:r>
          </a:p>
          <a:p>
            <a:pPr marL="171302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Усиление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требований к финансированию расходов за счет целевого трансферта из Нацфонда. </a:t>
            </a:r>
          </a:p>
          <a:p>
            <a:pPr marL="515393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аправление средств на:</a:t>
            </a:r>
          </a:p>
          <a:p>
            <a:pPr marL="861106" marR="0" lvl="2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азвитие критической инфраструктуры, необходимой для обеспечения функционирования жизненно важных объектов, служб, систем и сетей</a:t>
            </a:r>
          </a:p>
          <a:p>
            <a:pPr marL="861106" marR="0" lvl="2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оекты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ационального масштаба</a:t>
            </a:r>
          </a:p>
          <a:p>
            <a:pPr marL="541338" marR="0" lvl="2" indent="-180975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язательное наличие информации об ожидаемом социальном-экономическом эффекте от заявляемых расходов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515393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беспечение возврата неиспользованной части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в Нацфонд АРБП за счет остатков бюджетных средств и МИО в республиканский бюджет до 20 декабря т.г.</a:t>
            </a:r>
          </a:p>
          <a:p>
            <a:pPr marL="515393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недрение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тдельной ответственности первого руководителя АБП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за нецелевое использование средств целевого трансферта из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НФ</a:t>
            </a:r>
          </a:p>
          <a:p>
            <a:pPr marL="515393" marR="0" lvl="0" indent="-171302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kk-KZ" sz="1000" kern="1200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ламентация норм по программе нацфонд детям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7477701" y="345615"/>
            <a:ext cx="0" cy="4850989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516363" y="630955"/>
            <a:ext cx="1646452" cy="3308548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marL="171350" marR="0" lvl="0" indent="-17135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егламентация положений по формированию и использованию Нацфонда Бюджетным кодексом (ранее частично регулировалось Концепцией)</a:t>
            </a:r>
          </a:p>
          <a:p>
            <a:pPr marL="171350" marR="0" lvl="0" indent="-17135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1350" marR="0" lvl="0" indent="-17135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Исключение дублирования между законами о ГТ и РБ 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 упрощением бюджетных процедур 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492079" y="337698"/>
            <a:ext cx="2018988" cy="276817"/>
          </a:xfrm>
          <a:prstGeom prst="rect">
            <a:avLst/>
          </a:prstGeom>
          <a:noFill/>
        </p:spPr>
        <p:txBody>
          <a:bodyPr wrap="square" lIns="91261" tIns="45630" rIns="91261" bIns="45630" rtlCol="0">
            <a:spAutoFit/>
          </a:bodyPr>
          <a:lstStyle/>
          <a:p>
            <a:pPr marL="0" marR="0" lvl="0" indent="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Эффект:</a:t>
            </a:r>
          </a:p>
        </p:txBody>
      </p:sp>
    </p:spTree>
    <p:extLst>
      <p:ext uri="{BB962C8B-B14F-4D97-AF65-F5344CB8AC3E}">
        <p14:creationId xmlns:p14="http://schemas.microsoft.com/office/powerpoint/2010/main" val="341787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71355" y="1104733"/>
            <a:ext cx="9072645" cy="3467925"/>
            <a:chOff x="470530" y="1102622"/>
            <a:chExt cx="8715436" cy="3980182"/>
          </a:xfrm>
        </p:grpSpPr>
        <p:cxnSp>
          <p:nvCxnSpPr>
            <p:cNvPr id="13" name="Прямая со стрелкой 12"/>
            <p:cNvCxnSpPr/>
            <p:nvPr/>
          </p:nvCxnSpPr>
          <p:spPr>
            <a:xfrm>
              <a:off x="554804" y="2607530"/>
              <a:ext cx="8529004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27ACAA"/>
              </a:solidFill>
              <a:prstDash val="solid"/>
              <a:tailEnd type="arrow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sp>
          <p:nvSpPr>
            <p:cNvPr id="14" name="TextBox 13"/>
            <p:cNvSpPr txBox="1"/>
            <p:nvPr/>
          </p:nvSpPr>
          <p:spPr>
            <a:xfrm>
              <a:off x="566829" y="2268236"/>
              <a:ext cx="1016429" cy="27854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7ACAA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07 год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54804" y="1414295"/>
              <a:ext cx="2891355" cy="574505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>
              <a:defPPr>
                <a:defRPr lang="ru-RU"/>
              </a:defPPr>
              <a:lvl1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200" b="1">
                  <a:solidFill>
                    <a:schemeClr val="accent3">
                      <a:lumMod val="50000"/>
                    </a:schemeClr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88CE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онцепция по внедрению системы государственного планирования, ориентированного на результаты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486674" y="1376960"/>
              <a:ext cx="2843373" cy="75207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88CE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онцепция новой бюджетной политики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88CE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/ 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88CE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онцепция формирования и использования средств Национального фонда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268470" y="2260492"/>
              <a:ext cx="1479478" cy="27854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7ACAA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13 год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778597" y="2260492"/>
              <a:ext cx="1252721" cy="27854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7ACAA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22 год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6503306" y="1444085"/>
              <a:ext cx="2416251" cy="39693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88CE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онцепция управления госфинансами до 2030 года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D108A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70530" y="2978919"/>
              <a:ext cx="2748351" cy="2004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just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Заложена основа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для перехода к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у, ориентированному на результат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(</a:t>
              </a:r>
              <a:r>
                <a:rPr kumimoji="0" lang="kk-KZ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БОР)</a:t>
              </a:r>
            </a:p>
            <a:p>
              <a:pPr marL="171450" marR="0" lvl="0" indent="-1714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переход на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трехлетний бюджет</a:t>
              </a:r>
            </a:p>
            <a:p>
              <a:pPr marL="171450" marR="0" lvl="0" indent="-1714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внедрена система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госпланирования</a:t>
              </a:r>
            </a:p>
            <a:p>
              <a:pPr marL="171450" lvl="0" indent="-171450" defTabSz="689804" fontAlgn="base">
                <a:spcBef>
                  <a:spcPct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defRPr/>
              </a:pPr>
              <a:r>
                <a:rPr lang="ru-RU" sz="1000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обеспечена </a:t>
              </a:r>
              <a:r>
                <a:rPr lang="ru-RU" sz="1000" b="1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стабильность межбюджетных отношений</a:t>
              </a:r>
              <a:r>
                <a:rPr lang="ru-RU" sz="1000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 путем законодательного определения объемов </a:t>
              </a:r>
              <a:r>
                <a:rPr lang="ru-RU" sz="1000" b="1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трансфертов общего характера </a:t>
              </a:r>
              <a:r>
                <a:rPr lang="ru-RU" sz="1000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на трехлетний </a:t>
              </a:r>
              <a:r>
                <a:rPr lang="ru-RU" sz="1000" kern="1200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период</a:t>
              </a:r>
              <a:endParaRPr lang="ru-RU" sz="1000" kern="12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015611" y="2168131"/>
              <a:ext cx="1479478" cy="39693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2DB757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08 год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533323" y="2635832"/>
              <a:ext cx="2849873" cy="27854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DB757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ный кодекс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DB757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2008 г.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537676" y="2895519"/>
              <a:ext cx="2730313" cy="21065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2014 - 2017 годы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 – сформированы основы для обеспечения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сбалансированности госфинансов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и бюджетной эффективности </a:t>
              </a:r>
            </a:p>
            <a:p>
              <a:pPr marL="171450" marR="0" lvl="0" indent="-1714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2018 - 2020 годы –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 сделаны шаги для укрепления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устойчивости 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госфинансов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,</a:t>
              </a:r>
              <a:r>
                <a:rPr kumimoji="0" lang="ru-RU" sz="10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принят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учет по методу начислений 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в соответствии с международными стандартами, что повышает качество и прозрачность </a:t>
              </a:r>
              <a:r>
                <a:rPr kumimoji="0" lang="ru-RU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госфинансов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035620" y="2260493"/>
              <a:ext cx="1479478" cy="27854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7ACAA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20 год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6330047" y="2823863"/>
              <a:ext cx="2855919" cy="22370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68980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заложены новые инструменты управления госфинансами для обеспечения  </a:t>
              </a: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бережливой  и ответственной бюджетной политики</a:t>
              </a:r>
            </a:p>
            <a:p>
              <a:pPr marL="171450" lvl="0" indent="-171450" defTabSz="689804" fontAlgn="base">
                <a:spcBef>
                  <a:spcPct val="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defRPr/>
              </a:pPr>
              <a:r>
                <a:rPr lang="ru-RU" sz="1000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предопределена необходимость </a:t>
              </a:r>
              <a:r>
                <a:rPr lang="ru-RU" sz="1000" b="1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расширения поля регулирования  Бюджетного кодекса</a:t>
              </a:r>
              <a:r>
                <a:rPr lang="ru-RU" sz="1000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, смещения фокуса бюджетной политики от бюджетных параметров </a:t>
              </a:r>
              <a:r>
                <a:rPr lang="ru-RU" sz="1000" b="1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на расширение основ консолидации </a:t>
              </a:r>
              <a:r>
                <a:rPr lang="ru-RU" sz="1000" kern="1200" dirty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госфинансов  и управления ими, а также принятия дальнейших мер по усилению принципов </a:t>
              </a:r>
              <a:r>
                <a:rPr lang="ru-RU" sz="1000" kern="1200" dirty="0" smtClean="0">
                  <a:solidFill>
                    <a:schemeClr val="tx2">
                      <a:lumMod val="50000"/>
                    </a:schemeClr>
                  </a:solidFill>
                  <a:latin typeface="Arial" pitchFamily="34" charset="0"/>
                  <a:ea typeface="+mn-ea"/>
                  <a:cs typeface="Arial" panose="020B0604020202020204" pitchFamily="34" charset="0"/>
                </a:rPr>
                <a:t>БОР</a:t>
              </a:r>
              <a:endParaRPr lang="ru-RU" sz="1000" kern="12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36133" y="1102622"/>
              <a:ext cx="7304926" cy="21935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B757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Концепции, которые выступают основой для разработки Бюджетного кодекса</a:t>
              </a:r>
            </a:p>
          </p:txBody>
        </p:sp>
        <p:cxnSp>
          <p:nvCxnSpPr>
            <p:cNvPr id="32" name="Прямая соединительная линия 31"/>
            <p:cNvCxnSpPr>
              <a:cxnSpLocks/>
            </p:cNvCxnSpPr>
            <p:nvPr/>
          </p:nvCxnSpPr>
          <p:spPr>
            <a:xfrm>
              <a:off x="3412175" y="1416385"/>
              <a:ext cx="26464" cy="3666419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dash"/>
            </a:ln>
            <a:effectLst/>
          </p:spPr>
        </p:cxnSp>
        <p:cxnSp>
          <p:nvCxnSpPr>
            <p:cNvPr id="29" name="Прямая соединительная линия 28"/>
            <p:cNvCxnSpPr>
              <a:cxnSpLocks/>
            </p:cNvCxnSpPr>
            <p:nvPr/>
          </p:nvCxnSpPr>
          <p:spPr>
            <a:xfrm flipH="1">
              <a:off x="6351008" y="1411362"/>
              <a:ext cx="10165" cy="3649589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dash"/>
            </a:ln>
            <a:effectLst/>
          </p:spPr>
        </p:cxnSp>
      </p:grpSp>
      <p:sp>
        <p:nvSpPr>
          <p:cNvPr id="7" name="TextBox 6"/>
          <p:cNvSpPr txBox="1"/>
          <p:nvPr/>
        </p:nvSpPr>
        <p:spPr>
          <a:xfrm>
            <a:off x="3384877" y="617010"/>
            <a:ext cx="2880770" cy="455509"/>
          </a:xfrm>
          <a:prstGeom prst="rect">
            <a:avLst/>
          </a:prstGeom>
          <a:noFill/>
        </p:spPr>
        <p:txBody>
          <a:bodyPr wrap="square" lIns="0" tIns="36504" rIns="0" bIns="0" rtlCol="0">
            <a:spAutoFit/>
          </a:bodyPr>
          <a:lstStyle/>
          <a:p>
            <a:pPr marL="0" marR="0" lvl="0" indent="0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27ACAA"/>
              </a:buClr>
              <a:buSzPct val="70000"/>
              <a:buFont typeface="Arial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за 14 лет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176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оправок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6353911" y="443284"/>
            <a:ext cx="2526207" cy="663258"/>
          </a:xfrm>
          <a:prstGeom prst="rect">
            <a:avLst/>
          </a:prstGeom>
          <a:noFill/>
        </p:spPr>
        <p:txBody>
          <a:bodyPr wrap="square" lIns="0" tIns="36504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27ACAA"/>
              </a:buClr>
              <a:buSzPct val="70000"/>
              <a:buFont typeface="Arial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В среднем</a:t>
            </a:r>
          </a:p>
          <a:p>
            <a:pPr marL="0" marR="0" lvl="0" indent="0" algn="ctr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27ACAA"/>
              </a:buClr>
              <a:buSzPct val="70000"/>
              <a:buFont typeface="Arial"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12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аз в год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1601" y="748764"/>
            <a:ext cx="2463357" cy="246149"/>
          </a:xfrm>
          <a:prstGeom prst="rect">
            <a:avLst/>
          </a:prstGeom>
          <a:noFill/>
        </p:spPr>
        <p:txBody>
          <a:bodyPr wrap="square" lIns="0" tIns="36504" rIns="0" bIns="0" rtlCol="0">
            <a:spAutoFit/>
          </a:bodyPr>
          <a:lstStyle>
            <a:defPPr>
              <a:defRPr lang="ru-RU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marL="0" marR="0" lvl="0" indent="0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27ACAA"/>
              </a:buClr>
              <a:buSzPct val="70000"/>
              <a:buFont typeface="Arial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 2008 по 2023 годы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82020" y="445117"/>
            <a:ext cx="4915723" cy="219988"/>
          </a:xfrm>
          <a:prstGeom prst="rect">
            <a:avLst/>
          </a:prstGeom>
          <a:noFill/>
        </p:spPr>
        <p:txBody>
          <a:bodyPr wrap="square" lIns="0" tIns="36504" rIns="0" bIns="0" rtlCol="0">
            <a:spAutoFit/>
          </a:bodyPr>
          <a:lstStyle>
            <a:defPPr>
              <a:defRPr lang="ru-RU"/>
            </a:defPPr>
            <a:lvl1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27ACAA"/>
              </a:buClr>
              <a:buSzPct val="70000"/>
              <a:buFont typeface="Arial"/>
              <a:buNone/>
              <a:tabLst/>
              <a:defRPr/>
            </a:pPr>
            <a:r>
              <a:rPr lang="ru-RU" sz="1400" kern="1200" dirty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В действующий Бюджетный кодекс вносились: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C50600E-137D-4886-AAF3-DD8C07E562F0}"/>
              </a:ext>
            </a:extLst>
          </p:cNvPr>
          <p:cNvCxnSpPr>
            <a:cxnSpLocks/>
          </p:cNvCxnSpPr>
          <p:nvPr/>
        </p:nvCxnSpPr>
        <p:spPr>
          <a:xfrm flipV="1">
            <a:off x="110355" y="1073411"/>
            <a:ext cx="8992014" cy="3144"/>
          </a:xfrm>
          <a:prstGeom prst="line">
            <a:avLst/>
          </a:prstGeom>
          <a:noFill/>
          <a:ln w="9525" cap="flat" cmpd="sng" algn="ctr">
            <a:solidFill>
              <a:srgbClr val="2E2E38">
                <a:lumMod val="50000"/>
              </a:srgbClr>
            </a:solidFill>
            <a:prstDash val="dash"/>
          </a:ln>
          <a:effectLst/>
        </p:spPr>
      </p:cxnSp>
      <p:sp>
        <p:nvSpPr>
          <p:cNvPr id="12" name="Прямоугольник 11"/>
          <p:cNvSpPr/>
          <p:nvPr/>
        </p:nvSpPr>
        <p:spPr>
          <a:xfrm>
            <a:off x="163441" y="4549365"/>
            <a:ext cx="6000583" cy="563049"/>
          </a:xfrm>
          <a:prstGeom prst="rect">
            <a:avLst/>
          </a:prstGeom>
        </p:spPr>
        <p:txBody>
          <a:bodyPr wrap="square" lIns="91261" tIns="45630" rIns="91261" bIns="45630">
            <a:spAutoFit/>
          </a:bodyPr>
          <a:lstStyle/>
          <a:p>
            <a:pPr marL="0" marR="0" lvl="0" indent="0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002060"/>
              </a:buClr>
              <a:buSzPct val="120000"/>
              <a:buFont typeface="Arial"/>
              <a:buNone/>
              <a:tabLst/>
              <a:defRPr/>
            </a:pPr>
            <a:r>
              <a:rPr lang="ru-RU" sz="1200" b="1" kern="1200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 14 лет поправки вносились точечно, изменениям подвергались отдельные главы и статьи, что потребовало дальнейшей систематизации и перезагрузки содержания Кодекса</a:t>
            </a:r>
          </a:p>
        </p:txBody>
      </p:sp>
      <p:sp>
        <p:nvSpPr>
          <p:cNvPr id="27" name="Объект 2"/>
          <p:cNvSpPr txBox="1">
            <a:spLocks/>
          </p:cNvSpPr>
          <p:nvPr/>
        </p:nvSpPr>
        <p:spPr>
          <a:xfrm>
            <a:off x="87744" y="29963"/>
            <a:ext cx="8131168" cy="30777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531082" rtl="0" eaLnBrk="1" latinLnBrk="0" hangingPunct="1">
              <a:spcBef>
                <a:spcPts val="0"/>
              </a:spcBef>
              <a:spcAft>
                <a:spcPts val="204"/>
              </a:spcAft>
              <a:buClr>
                <a:schemeClr val="tx2"/>
              </a:buClr>
              <a:buSzPct val="70000"/>
              <a:buFontTx/>
              <a:buNone/>
              <a:defRPr sz="12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Tx/>
              <a:buNone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22406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7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244812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7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 typeface="+mj-lt"/>
              <a:buAutoNum type="arabicPeriod"/>
              <a:defRPr sz="7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5310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4"/>
              </a:spcAft>
              <a:buClr>
                <a:srgbClr val="44546A"/>
              </a:buClr>
              <a:buSzPct val="70000"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Arial"/>
              </a:rPr>
              <a:t>Вектор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Arial"/>
              </a:rPr>
              <a:t>бюджетной политики</a:t>
            </a:r>
          </a:p>
        </p:txBody>
      </p:sp>
    </p:spTree>
    <p:extLst>
      <p:ext uri="{BB962C8B-B14F-4D97-AF65-F5344CB8AC3E}">
        <p14:creationId xmlns:p14="http://schemas.microsoft.com/office/powerpoint/2010/main" val="1807609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24604" y="4990395"/>
            <a:ext cx="703802" cy="153105"/>
          </a:xfrm>
        </p:spPr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sz="800" kern="1200" smtClean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defTabSz="899297">
                <a:buClrTx/>
                <a:defRPr/>
              </a:pPr>
              <a:t>3</a:t>
            </a:fld>
            <a:endParaRPr lang="ru-RU" sz="800" kern="1200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5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>
            <a:off x="107990" y="-5524"/>
            <a:ext cx="8267034" cy="400059"/>
          </a:xfrm>
          <a:prstGeom prst="rect">
            <a:avLst/>
          </a:prstGeom>
        </p:spPr>
        <p:txBody>
          <a:bodyPr wrap="square" lIns="91390" tIns="45695" rIns="91390" bIns="45695">
            <a:spAutoFit/>
          </a:bodyPr>
          <a:lstStyle/>
          <a:p>
            <a:pPr defTabSz="914400">
              <a:buClr>
                <a:srgbClr val="000000"/>
              </a:buClr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Цели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задачи управления </a:t>
            </a:r>
            <a:r>
              <a:rPr lang="kk-KZ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осударственными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инансам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2" name="Выноска: стрелка вниз 6">
            <a:extLst>
              <a:ext uri="{FF2B5EF4-FFF2-40B4-BE49-F238E27FC236}">
                <a16:creationId xmlns:a16="http://schemas.microsoft.com/office/drawing/2014/main" id="{A480C53C-65F8-4658-A2D8-34F8AE2E341F}"/>
              </a:ext>
            </a:extLst>
          </p:cNvPr>
          <p:cNvSpPr/>
          <p:nvPr/>
        </p:nvSpPr>
        <p:spPr>
          <a:xfrm>
            <a:off x="107990" y="505447"/>
            <a:ext cx="8774506" cy="1275645"/>
          </a:xfrm>
          <a:prstGeom prst="downArrowCallou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</a:ln>
          <a:effectLst/>
        </p:spPr>
        <p:txBody>
          <a:bodyPr rtlCol="0" anchor="t" anchorCtr="0"/>
          <a:lstStyle/>
          <a:p>
            <a:pPr marL="0" marR="43180" lvl="0" indent="825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Концепция </a:t>
            </a:r>
            <a:r>
              <a:rPr kumimoji="0" lang="kk-KZ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управления государственными финансами </a:t>
            </a:r>
            <a:endParaRPr kumimoji="0" lang="kk-KZ" sz="16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  <a:p>
            <a:pPr marL="0" marR="43180" lvl="0" indent="825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Республики </a:t>
            </a:r>
            <a:r>
              <a:rPr kumimoji="0" lang="kk-KZ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Казахстан до 2030 года </a:t>
            </a:r>
            <a:endParaRPr kumimoji="0" lang="kk-KZ" sz="16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  <a:p>
            <a:pPr marL="0" marR="43180" lvl="0" indent="825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утверждена </a:t>
            </a:r>
            <a:r>
              <a:rPr kumimoji="0" lang="kk-KZ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Указом Президента Республики Казахстан от 10 сентября 2022 года № 1005</a:t>
            </a:r>
            <a:endParaRPr kumimoji="0" lang="ru-RU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Times New Roman" panose="02020603050405020304" pitchFamily="18" charset="0"/>
              <a:cs typeface="+mn-cs"/>
            </a:endParaRPr>
          </a:p>
        </p:txBody>
      </p:sp>
      <p:grpSp>
        <p:nvGrpSpPr>
          <p:cNvPr id="111" name="Группа 110"/>
          <p:cNvGrpSpPr/>
          <p:nvPr/>
        </p:nvGrpSpPr>
        <p:grpSpPr>
          <a:xfrm>
            <a:off x="107990" y="1644389"/>
            <a:ext cx="8774506" cy="1695159"/>
            <a:chOff x="761966" y="2727397"/>
            <a:chExt cx="9994052" cy="2061942"/>
          </a:xfrm>
          <a:solidFill>
            <a:schemeClr val="accent1">
              <a:lumMod val="20000"/>
              <a:lumOff val="80000"/>
            </a:schemeClr>
          </a:solidFill>
        </p:grpSpPr>
        <p:grpSp>
          <p:nvGrpSpPr>
            <p:cNvPr id="113" name="Группа 27">
              <a:extLst>
                <a:ext uri="{FF2B5EF4-FFF2-40B4-BE49-F238E27FC236}">
                  <a16:creationId xmlns:a16="http://schemas.microsoft.com/office/drawing/2014/main" id="{88F720BD-8754-43FE-B610-6F3AF696CBAE}"/>
                </a:ext>
              </a:extLst>
            </p:cNvPr>
            <p:cNvGrpSpPr/>
            <p:nvPr/>
          </p:nvGrpSpPr>
          <p:grpSpPr>
            <a:xfrm>
              <a:off x="761966" y="2780957"/>
              <a:ext cx="828676" cy="993848"/>
              <a:chOff x="613268" y="1510940"/>
              <a:chExt cx="1179586" cy="937776"/>
            </a:xfrm>
            <a:grpFill/>
          </p:grpSpPr>
          <p:sp>
            <p:nvSpPr>
              <p:cNvPr id="122" name="Arrow: Pentagon 33">
                <a:extLst>
                  <a:ext uri="{FF2B5EF4-FFF2-40B4-BE49-F238E27FC236}">
                    <a16:creationId xmlns:a16="http://schemas.microsoft.com/office/drawing/2014/main" id="{5692D182-C782-4466-8E23-A140EDBB07E5}"/>
                  </a:ext>
                </a:extLst>
              </p:cNvPr>
              <p:cNvSpPr/>
              <p:nvPr/>
            </p:nvSpPr>
            <p:spPr bwMode="auto">
              <a:xfrm rot="5400000">
                <a:off x="734173" y="1390035"/>
                <a:ext cx="937776" cy="1179586"/>
              </a:xfrm>
              <a:prstGeom prst="homePlate">
                <a:avLst>
                  <a:gd name="adj" fmla="val 24304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101598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pic>
            <p:nvPicPr>
              <p:cNvPr id="123" name="object 33">
                <a:extLst>
                  <a:ext uri="{FF2B5EF4-FFF2-40B4-BE49-F238E27FC236}">
                    <a16:creationId xmlns:a16="http://schemas.microsoft.com/office/drawing/2014/main" id="{A164052B-642E-47A5-AF9F-A58E7689632F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735297" y="1543840"/>
                <a:ext cx="976207" cy="676276"/>
              </a:xfrm>
              <a:prstGeom prst="rect">
                <a:avLst/>
              </a:prstGeom>
              <a:grpFill/>
              <a:effectLst>
                <a:glow rad="127000">
                  <a:sysClr val="window" lastClr="FFFFFF">
                    <a:lumMod val="95000"/>
                  </a:sysClr>
                </a:glow>
              </a:effectLst>
            </p:spPr>
          </p:pic>
        </p:grpSp>
        <p:sp>
          <p:nvSpPr>
            <p:cNvPr id="114" name="Rectangle 6">
              <a:extLst>
                <a:ext uri="{FF2B5EF4-FFF2-40B4-BE49-F238E27FC236}">
                  <a16:creationId xmlns:a16="http://schemas.microsoft.com/office/drawing/2014/main" id="{36603CFC-1FD9-44E7-B3E5-43499F05FF08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153186" y="2727397"/>
              <a:ext cx="4596008" cy="45409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wrap="square" lIns="132915" rIns="42200" rtlCol="0" anchor="ctr" anchorCtr="0">
              <a:noAutofit/>
            </a:bodyPr>
            <a:lstStyle>
              <a:defPPr>
                <a:defRPr lang="en-US"/>
              </a:defPPr>
              <a:lvl1pPr>
                <a:buClr>
                  <a:schemeClr val="bg1"/>
                </a:buClr>
                <a:defRPr sz="1400" b="1">
                  <a:solidFill>
                    <a:schemeClr val="bg1"/>
                  </a:solidFill>
                </a:defRPr>
              </a:lvl1pPr>
            </a:lstStyle>
            <a:p>
              <a:pPr marL="114286" marR="0" lvl="0" indent="0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Обеспечение финансовой устойчивости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5" name="Rectangle 6">
              <a:extLst>
                <a:ext uri="{FF2B5EF4-FFF2-40B4-BE49-F238E27FC236}">
                  <a16:creationId xmlns:a16="http://schemas.microsoft.com/office/drawing/2014/main" id="{79F03755-BBBB-4741-9D25-7B1C6A6C74C8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6160011" y="3212095"/>
              <a:ext cx="4596007" cy="4926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wrap="square" lIns="132915" rIns="42200" rtlCol="0" anchor="ctr" anchorCtr="0">
              <a:noAutofit/>
            </a:bodyPr>
            <a:lstStyle>
              <a:defPPr>
                <a:defRPr lang="en-US"/>
              </a:defPPr>
              <a:lvl1pPr>
                <a:buClr>
                  <a:schemeClr val="bg1"/>
                </a:buClr>
                <a:defRPr sz="1400" b="1">
                  <a:solidFill>
                    <a:schemeClr val="bg1"/>
                  </a:solidFill>
                </a:defRPr>
              </a:lvl1pPr>
            </a:lstStyle>
            <a:p>
              <a:pPr marL="114286" marR="0" lvl="0" indent="0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Содействие качественному и устойчивому росту экономики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6" name="Arrow: Pentagon 28">
              <a:extLst>
                <a:ext uri="{FF2B5EF4-FFF2-40B4-BE49-F238E27FC236}">
                  <a16:creationId xmlns:a16="http://schemas.microsoft.com/office/drawing/2014/main" id="{D93C153B-237D-4505-A2A0-29B46F4AE91B}"/>
                </a:ext>
              </a:extLst>
            </p:cNvPr>
            <p:cNvSpPr/>
            <p:nvPr/>
          </p:nvSpPr>
          <p:spPr bwMode="auto">
            <a:xfrm>
              <a:off x="1756351" y="2800007"/>
              <a:ext cx="3917427" cy="786643"/>
            </a:xfrm>
            <a:prstGeom prst="homePlat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defTabSz="10159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111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endParaRPr>
            </a:p>
            <a:p>
              <a:pPr marL="0" marR="0" lvl="0" indent="0" algn="ctr" defTabSz="10159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111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ЦЕЛИ</a:t>
              </a:r>
            </a:p>
            <a:p>
              <a:pPr marL="0" marR="0" lvl="0" indent="0" defTabSz="10159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7" name="Прямоугольник 116">
              <a:extLst>
                <a:ext uri="{FF2B5EF4-FFF2-40B4-BE49-F238E27FC236}">
                  <a16:creationId xmlns:a16="http://schemas.microsoft.com/office/drawing/2014/main" id="{3287BE34-FB59-4D6C-9CBB-4C044811E97C}"/>
                </a:ext>
              </a:extLst>
            </p:cNvPr>
            <p:cNvSpPr/>
            <p:nvPr/>
          </p:nvSpPr>
          <p:spPr>
            <a:xfrm>
              <a:off x="847693" y="3979051"/>
              <a:ext cx="4272239" cy="597509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10159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111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ЗАДАЧИ </a:t>
              </a: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УПРАВЛЕНИЯ </a:t>
              </a:r>
              <a:r>
                <a:rPr kumimoji="0" lang="kk-KZ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ГОСУДАРСТВЕННЫМИ </a:t>
              </a: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ea typeface="+mn-ea"/>
                  <a:cs typeface="Arial" pitchFamily="34" charset="0"/>
                </a:rPr>
                <a:t>ФИНАНСАМИ</a:t>
              </a:r>
              <a:endParaRPr kumimoji="0" lang="ru-RU" sz="1200" b="1" i="0" u="none" strike="noStrike" kern="0" cap="none" spc="111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8" name="Rectangle 6">
              <a:extLst>
                <a:ext uri="{FF2B5EF4-FFF2-40B4-BE49-F238E27FC236}">
                  <a16:creationId xmlns:a16="http://schemas.microsoft.com/office/drawing/2014/main" id="{B9E812D7-8584-4B0D-817D-9F964398BE0F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6157866" y="3835803"/>
              <a:ext cx="4595378" cy="342471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wrap="square" lIns="132915" rIns="42200" rtlCol="0" anchor="ctr" anchorCtr="0">
              <a:noAutofit/>
            </a:bodyPr>
            <a:lstStyle>
              <a:defPPr>
                <a:defRPr lang="en-US"/>
              </a:defPPr>
              <a:lvl1pPr>
                <a:buClr>
                  <a:schemeClr val="bg1"/>
                </a:buClr>
                <a:defRPr sz="1400" b="1">
                  <a:solidFill>
                    <a:schemeClr val="bg1"/>
                  </a:solidFill>
                </a:defRPr>
              </a:lvl1pPr>
            </a:lstStyle>
            <a:p>
              <a:pPr marL="114286" marR="0" lvl="0" indent="0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Консолидация государственных финансов</a:t>
              </a:r>
            </a:p>
          </p:txBody>
        </p:sp>
        <p:sp>
          <p:nvSpPr>
            <p:cNvPr id="119" name="Rectangle 6">
              <a:extLst>
                <a:ext uri="{FF2B5EF4-FFF2-40B4-BE49-F238E27FC236}">
                  <a16:creationId xmlns:a16="http://schemas.microsoft.com/office/drawing/2014/main" id="{DE683E90-008A-4291-8F6A-F162DBB3BD85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6154525" y="4296738"/>
              <a:ext cx="4595377" cy="492601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wrap="square" lIns="132915" rIns="42200" rtlCol="0" anchor="ctr" anchorCtr="0">
              <a:noAutofit/>
            </a:bodyPr>
            <a:lstStyle>
              <a:defPPr>
                <a:defRPr lang="en-US"/>
              </a:defPPr>
              <a:lvl1pPr>
                <a:buClr>
                  <a:schemeClr val="bg1"/>
                </a:buClr>
                <a:defRPr sz="1400" b="1">
                  <a:solidFill>
                    <a:schemeClr val="bg1"/>
                  </a:solidFill>
                </a:defRPr>
              </a:lvl1pPr>
            </a:lstStyle>
            <a:p>
              <a:pPr marL="114286" marR="0" lvl="0" indent="0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Восстановление сбалансированности и устойчивости бюджета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0" name="TextBox 60">
              <a:extLst>
                <a:ext uri="{FF2B5EF4-FFF2-40B4-BE49-F238E27FC236}">
                  <a16:creationId xmlns:a16="http://schemas.microsoft.com/office/drawing/2014/main" id="{64A30FD3-0EB8-4BFB-A608-254C5EBD8EAD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547105" y="4393545"/>
              <a:ext cx="457677" cy="260339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bg1"/>
                  </a:solidFill>
                  <a:latin typeface="+mj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</a:t>
              </a:r>
            </a:p>
          </p:txBody>
        </p:sp>
        <p:sp>
          <p:nvSpPr>
            <p:cNvPr id="121" name="TextBox 60">
              <a:extLst>
                <a:ext uri="{FF2B5EF4-FFF2-40B4-BE49-F238E27FC236}">
                  <a16:creationId xmlns:a16="http://schemas.microsoft.com/office/drawing/2014/main" id="{8D534034-90A8-464E-8FA9-D2468BF6174C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5574011" y="3908074"/>
              <a:ext cx="390061" cy="219136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rIns="0" rtlCol="0" anchor="ctr">
              <a:no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bg1"/>
                  </a:solidFill>
                  <a:latin typeface="+mj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0" marR="0" lvl="0" indent="0" algn="ctr" defTabSz="93296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А</a:t>
              </a:r>
            </a:p>
          </p:txBody>
        </p:sp>
      </p:grpSp>
      <p:graphicFrame>
        <p:nvGraphicFramePr>
          <p:cNvPr id="129" name="Таблица 2">
            <a:extLst>
              <a:ext uri="{FF2B5EF4-FFF2-40B4-BE49-F238E27FC236}">
                <a16:creationId xmlns:a16="http://schemas.microsoft.com/office/drawing/2014/main" id="{38B05B3A-88F7-477F-8586-D90BCD5F2F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0020925"/>
              </p:ext>
            </p:extLst>
          </p:nvPr>
        </p:nvGraphicFramePr>
        <p:xfrm>
          <a:off x="183256" y="3504753"/>
          <a:ext cx="4234481" cy="1487841"/>
        </p:xfrm>
        <a:graphic>
          <a:graphicData uri="http://schemas.openxmlformats.org/drawingml/2006/table">
            <a:tbl>
              <a:tblPr firstRow="1" bandRow="1"/>
              <a:tblGrid>
                <a:gridCol w="2260643">
                  <a:extLst>
                    <a:ext uri="{9D8B030D-6E8A-4147-A177-3AD203B41FA5}">
                      <a16:colId xmlns:a16="http://schemas.microsoft.com/office/drawing/2014/main" val="1158953166"/>
                    </a:ext>
                  </a:extLst>
                </a:gridCol>
                <a:gridCol w="966978">
                  <a:extLst>
                    <a:ext uri="{9D8B030D-6E8A-4147-A177-3AD203B41FA5}">
                      <a16:colId xmlns:a16="http://schemas.microsoft.com/office/drawing/2014/main" val="578072649"/>
                    </a:ext>
                  </a:extLst>
                </a:gridCol>
                <a:gridCol w="1006860">
                  <a:extLst>
                    <a:ext uri="{9D8B030D-6E8A-4147-A177-3AD203B41FA5}">
                      <a16:colId xmlns:a16="http://schemas.microsoft.com/office/drawing/2014/main" val="2201787190"/>
                    </a:ext>
                  </a:extLst>
                </a:gridCol>
              </a:tblGrid>
              <a:tr h="370854"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x-none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2022 г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2030 </a:t>
                      </a:r>
                      <a:r>
                        <a:rPr lang="ru-RU" altLang="x-none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г</a:t>
                      </a:r>
                      <a:endParaRPr lang="ru-RU" altLang="x-none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24902"/>
                  </a:ext>
                </a:extLst>
              </a:tr>
              <a:tr h="372329"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Доходы госбюджета, к ВВП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15,7%</a:t>
                      </a:r>
                      <a:endParaRPr lang="ru-RU" altLang="x-none" sz="14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18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649004"/>
                  </a:ext>
                </a:extLst>
              </a:tr>
              <a:tr h="372329"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Дефицит бюджета, к ВВП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2,1%</a:t>
                      </a:r>
                      <a:endParaRPr lang="ru-RU" altLang="x-none" sz="14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2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1643955"/>
                  </a:ext>
                </a:extLst>
              </a:tr>
              <a:tr h="372329"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енефтяной дефицит, к ВВП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8,1%</a:t>
                      </a:r>
                      <a:endParaRPr lang="ru-RU" altLang="x-none" sz="14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cs typeface="Times New Roman" panose="02020603050405020304" pitchFamily="18" charset="0"/>
                        </a:rPr>
                        <a:t>5%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783416"/>
                  </a:ext>
                </a:extLst>
              </a:tr>
            </a:tbl>
          </a:graphicData>
        </a:graphic>
      </p:graphicFrame>
      <p:grpSp>
        <p:nvGrpSpPr>
          <p:cNvPr id="130" name="Группа 129"/>
          <p:cNvGrpSpPr/>
          <p:nvPr/>
        </p:nvGrpSpPr>
        <p:grpSpPr>
          <a:xfrm>
            <a:off x="3483221" y="3920291"/>
            <a:ext cx="165814" cy="986230"/>
            <a:chOff x="4652676" y="5397920"/>
            <a:chExt cx="158197" cy="1206697"/>
          </a:xfrm>
        </p:grpSpPr>
        <p:sp>
          <p:nvSpPr>
            <p:cNvPr id="131" name="Стрелка вверх 62">
              <a:extLst>
                <a:ext uri="{FF2B5EF4-FFF2-40B4-BE49-F238E27FC236}">
                  <a16:creationId xmlns:a16="http://schemas.microsoft.com/office/drawing/2014/main" id="{5E6EBC65-507B-4C02-A6FB-3AA29EA69063}"/>
                </a:ext>
              </a:extLst>
            </p:cNvPr>
            <p:cNvSpPr/>
            <p:nvPr/>
          </p:nvSpPr>
          <p:spPr bwMode="auto">
            <a:xfrm rot="10800000" flipV="1">
              <a:off x="4652677" y="5397920"/>
              <a:ext cx="158196" cy="216000"/>
            </a:xfrm>
            <a:prstGeom prst="upArrow">
              <a:avLst>
                <a:gd name="adj1" fmla="val 50000"/>
                <a:gd name="adj2" fmla="val 53993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2" name="Стрелка вверх 62">
              <a:extLst>
                <a:ext uri="{FF2B5EF4-FFF2-40B4-BE49-F238E27FC236}">
                  <a16:creationId xmlns:a16="http://schemas.microsoft.com/office/drawing/2014/main" id="{96B1B73F-5A7C-42B4-A3B6-510C28BEC6D9}"/>
                </a:ext>
              </a:extLst>
            </p:cNvPr>
            <p:cNvSpPr/>
            <p:nvPr/>
          </p:nvSpPr>
          <p:spPr bwMode="auto">
            <a:xfrm flipV="1">
              <a:off x="4652676" y="6388617"/>
              <a:ext cx="158196" cy="216000"/>
            </a:xfrm>
            <a:prstGeom prst="upArrow">
              <a:avLst>
                <a:gd name="adj1" fmla="val 50000"/>
                <a:gd name="adj2" fmla="val 53993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3" name="Стрелка вверх 62">
              <a:extLst>
                <a:ext uri="{FF2B5EF4-FFF2-40B4-BE49-F238E27FC236}">
                  <a16:creationId xmlns:a16="http://schemas.microsoft.com/office/drawing/2014/main" id="{667B4623-5FA8-49DE-900F-BD4A3B467DF6}"/>
                </a:ext>
              </a:extLst>
            </p:cNvPr>
            <p:cNvSpPr/>
            <p:nvPr/>
          </p:nvSpPr>
          <p:spPr bwMode="auto">
            <a:xfrm flipV="1">
              <a:off x="4652676" y="5888537"/>
              <a:ext cx="158196" cy="216000"/>
            </a:xfrm>
            <a:prstGeom prst="upArrow">
              <a:avLst>
                <a:gd name="adj1" fmla="val 50000"/>
                <a:gd name="adj2" fmla="val 53993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defRPr/>
              </a:pPr>
              <a:endParaRPr lang="ru-RU" sz="2400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134" name="Таблица 2">
            <a:extLst>
              <a:ext uri="{FF2B5EF4-FFF2-40B4-BE49-F238E27FC236}">
                <a16:creationId xmlns:a16="http://schemas.microsoft.com/office/drawing/2014/main" id="{030AA1E4-C6D2-43CD-A930-FF890D5C55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6516118"/>
              </p:ext>
            </p:extLst>
          </p:nvPr>
        </p:nvGraphicFramePr>
        <p:xfrm>
          <a:off x="4572000" y="3500543"/>
          <a:ext cx="4296125" cy="1515468"/>
        </p:xfrm>
        <a:graphic>
          <a:graphicData uri="http://schemas.openxmlformats.org/drawingml/2006/table">
            <a:tbl>
              <a:tblPr firstRow="1" bandRow="1"/>
              <a:tblGrid>
                <a:gridCol w="2384821">
                  <a:extLst>
                    <a:ext uri="{9D8B030D-6E8A-4147-A177-3AD203B41FA5}">
                      <a16:colId xmlns:a16="http://schemas.microsoft.com/office/drawing/2014/main" val="1158953166"/>
                    </a:ext>
                  </a:extLst>
                </a:gridCol>
                <a:gridCol w="1033058">
                  <a:extLst>
                    <a:ext uri="{9D8B030D-6E8A-4147-A177-3AD203B41FA5}">
                      <a16:colId xmlns:a16="http://schemas.microsoft.com/office/drawing/2014/main" val="578072649"/>
                    </a:ext>
                  </a:extLst>
                </a:gridCol>
                <a:gridCol w="878246">
                  <a:extLst>
                    <a:ext uri="{9D8B030D-6E8A-4147-A177-3AD203B41FA5}">
                      <a16:colId xmlns:a16="http://schemas.microsoft.com/office/drawing/2014/main" val="2201787190"/>
                    </a:ext>
                  </a:extLst>
                </a:gridCol>
              </a:tblGrid>
              <a:tr h="373424"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x-none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</a:t>
                      </a:r>
                      <a:r>
                        <a:rPr lang="ru-RU" altLang="x-none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</a:t>
                      </a:r>
                      <a:r>
                        <a:rPr lang="ru-RU" altLang="x-none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2030 г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2624902"/>
                  </a:ext>
                </a:extLst>
              </a:tr>
              <a:tr h="380044"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алютные активы Нацфонда, </a:t>
                      </a:r>
                      <a:r>
                        <a:rPr lang="ru-RU" altLang="x-none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altLang="x-none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ru-RU" altLang="x-none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лрд</a:t>
                      </a:r>
                      <a:r>
                        <a:rPr lang="ru-RU" altLang="x-none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 долл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Times New Roman" panose="02020603050405020304" pitchFamily="18" charset="0"/>
                        </a:rPr>
                        <a:t>55,7</a:t>
                      </a:r>
                      <a:endParaRPr lang="ru-RU" altLang="x-none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49659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9929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4897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798598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48257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6978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147575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597196" algn="l" defTabSz="89929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Times New Roman" panose="02020603050405020304" pitchFamily="18" charset="0"/>
                        </a:rPr>
                        <a:t>1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4649004"/>
                  </a:ext>
                </a:extLst>
              </a:tr>
              <a:tr h="299979">
                <a:tc>
                  <a:txBody>
                    <a:bodyPr/>
                    <a:lstStyle/>
                    <a:p>
                      <a:pPr marL="0" marR="0" lvl="0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осударственный долг,</a:t>
                      </a:r>
                      <a:r>
                        <a:rPr lang="ru-RU" altLang="x-none" sz="12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 ВВП </a:t>
                      </a:r>
                      <a:endParaRPr lang="ru-RU" altLang="x-none" sz="12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Times New Roman" panose="02020603050405020304" pitchFamily="18" charset="0"/>
                        </a:rPr>
                        <a:t>24,9 </a:t>
                      </a:r>
                      <a:endParaRPr lang="ru-RU" altLang="x-none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Times New Roman" panose="02020603050405020304" pitchFamily="18" charset="0"/>
                        </a:rPr>
                        <a:t>32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9518654"/>
                  </a:ext>
                </a:extLst>
              </a:tr>
              <a:tr h="380044">
                <a:tc>
                  <a:txBody>
                    <a:bodyPr/>
                    <a:lstStyle/>
                    <a:p>
                      <a:pPr marL="0" marR="0" lvl="0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200" b="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 долг Правительства, </a:t>
                      </a:r>
                      <a:r>
                        <a:rPr lang="ru-RU" altLang="x-none" sz="1200" b="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ВВП </a:t>
                      </a:r>
                      <a:endParaRPr lang="ru-RU" altLang="x-none" sz="1200" b="0" i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x-none" sz="1400" b="1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Times New Roman" panose="02020603050405020304" pitchFamily="18" charset="0"/>
                        </a:rPr>
                        <a:t>21,7 </a:t>
                      </a:r>
                      <a:endParaRPr lang="ru-RU" altLang="x-none" sz="1400" b="1" i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altLang="x-none" sz="1400" b="1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Times New Roman" panose="02020603050405020304" pitchFamily="18" charset="0"/>
                        </a:rPr>
                        <a:t>27,5</a:t>
                      </a:r>
                      <a:r>
                        <a:rPr lang="ru-RU" altLang="x-none" sz="1400" b="1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/>
                          <a:ea typeface="+mn-ea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8979429"/>
                  </a:ext>
                </a:extLst>
              </a:tr>
            </a:tbl>
          </a:graphicData>
        </a:graphic>
      </p:graphicFrame>
      <p:sp>
        <p:nvSpPr>
          <p:cNvPr id="135" name="Стрелка вверх 62">
            <a:extLst>
              <a:ext uri="{FF2B5EF4-FFF2-40B4-BE49-F238E27FC236}">
                <a16:creationId xmlns:a16="http://schemas.microsoft.com/office/drawing/2014/main" id="{0A481B39-9820-4C2A-961F-9AD75C015846}"/>
              </a:ext>
            </a:extLst>
          </p:cNvPr>
          <p:cNvSpPr/>
          <p:nvPr/>
        </p:nvSpPr>
        <p:spPr bwMode="auto">
          <a:xfrm rot="10800000" flipV="1">
            <a:off x="8088616" y="3930682"/>
            <a:ext cx="164838" cy="236612"/>
          </a:xfrm>
          <a:prstGeom prst="upArrow">
            <a:avLst>
              <a:gd name="adj1" fmla="val 50000"/>
              <a:gd name="adj2" fmla="val 53993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884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81261" y="4908659"/>
            <a:ext cx="2133599" cy="273844"/>
          </a:xfrm>
        </p:spPr>
        <p:txBody>
          <a:bodyPr/>
          <a:lstStyle/>
          <a:p>
            <a:pPr defTabSz="899297">
              <a:buClrTx/>
              <a:defRPr/>
            </a:pPr>
            <a:fld id="{C8FAE728-353B-469A-8C71-9ED453E3CE90}" type="slidenum">
              <a:rPr lang="ru-RU" sz="800" kern="1200" smtClean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defTabSz="899297">
                <a:buClrTx/>
                <a:defRPr/>
              </a:pPr>
              <a:t>4</a:t>
            </a:fld>
            <a:endParaRPr lang="ru-RU" sz="800" kern="1200" dirty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5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641027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2"/>
          <p:cNvSpPr txBox="1">
            <a:spLocks/>
          </p:cNvSpPr>
          <p:nvPr/>
        </p:nvSpPr>
        <p:spPr>
          <a:xfrm>
            <a:off x="63610" y="0"/>
            <a:ext cx="8460969" cy="675861"/>
          </a:xfrm>
          <a:prstGeom prst="rect">
            <a:avLst/>
          </a:prstGeom>
        </p:spPr>
        <p:txBody>
          <a:bodyPr anchor="ctr"/>
          <a:lstStyle>
            <a:lvl1pPr marL="342878" indent="-342878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03" indent="-285732" algn="l" defTabSz="91434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27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98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68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39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0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1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kk-KZ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Arial"/>
                <a:cs typeface="Arial" pitchFamily="34" charset="0"/>
              </a:rPr>
              <a:t>Оценка прозрачности налогово-бюджетной сферы </a:t>
            </a:r>
          </a:p>
          <a:p>
            <a:pPr marL="0" indent="0" algn="just">
              <a:buNone/>
            </a:pPr>
            <a:r>
              <a:rPr lang="kk-KZ" sz="1200" i="1" dirty="0">
                <a:solidFill>
                  <a:srgbClr val="188CE5">
                    <a:lumMod val="50000"/>
                  </a:srgbClr>
                </a:solidFill>
                <a:latin typeface="Arial"/>
                <a:ea typeface="Times New Roman" panose="02020603050405020304" pitchFamily="18" charset="0"/>
                <a:cs typeface="Arial" panose="020B0604020202020204" pitchFamily="34" charset="0"/>
              </a:rPr>
              <a:t>проведена МВФ с 24 января по 6 февраля 2023 </a:t>
            </a:r>
            <a:r>
              <a:rPr lang="kk-KZ" sz="1200" i="1" dirty="0" smtClean="0">
                <a:solidFill>
                  <a:srgbClr val="188CE5">
                    <a:lumMod val="50000"/>
                  </a:srgbClr>
                </a:solidFill>
                <a:latin typeface="Arial"/>
                <a:ea typeface="Times New Roman" panose="02020603050405020304" pitchFamily="18" charset="0"/>
                <a:cs typeface="Arial" panose="020B0604020202020204" pitchFamily="34" charset="0"/>
              </a:rPr>
              <a:t>года</a:t>
            </a:r>
            <a:endParaRPr lang="ru-RU" sz="1200" i="1" dirty="0">
              <a:solidFill>
                <a:srgbClr val="188CE5">
                  <a:lumMod val="50000"/>
                </a:srgbClr>
              </a:solidFill>
              <a:latin typeface="Arial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5DC698B-E89E-459E-B3D5-29141D53261B}"/>
              </a:ext>
            </a:extLst>
          </p:cNvPr>
          <p:cNvGrpSpPr/>
          <p:nvPr/>
        </p:nvGrpSpPr>
        <p:grpSpPr>
          <a:xfrm>
            <a:off x="191600" y="735631"/>
            <a:ext cx="8833130" cy="1013656"/>
            <a:chOff x="483249" y="741531"/>
            <a:chExt cx="12374381" cy="75412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39005BC3-3BB6-48E0-9F10-7588614A2000}"/>
                </a:ext>
              </a:extLst>
            </p:cNvPr>
            <p:cNvSpPr/>
            <p:nvPr/>
          </p:nvSpPr>
          <p:spPr>
            <a:xfrm>
              <a:off x="1613035" y="741531"/>
              <a:ext cx="11244595" cy="45795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contourClr>
                <a:schemeClr val="accent3">
                  <a:lumMod val="20000"/>
                  <a:lumOff val="80000"/>
                </a:schemeClr>
              </a:contourClr>
            </a:sp3d>
          </p:spPr>
          <p:txBody>
            <a:bodyPr wrap="square">
              <a:spAutoFit/>
            </a:bodyPr>
            <a:lstStyle/>
            <a:p>
              <a:pPr marL="0" marR="0" lvl="0" indent="0" algn="just" defTabSz="10159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Цель </a:t>
              </a:r>
              <a:r>
                <a:rPr lang="ru-RU" sz="1400" kern="0" dirty="0">
                  <a:solidFill>
                    <a:srgbClr val="002060"/>
                  </a:solidFill>
                  <a:latin typeface="Arial"/>
                  <a:ea typeface="Calibri" panose="020F0502020204030204" pitchFamily="34" charset="0"/>
                </a:rPr>
                <a:t>миссии</a:t>
              </a:r>
              <a:r>
                <a:rPr kumimoji="0" lang="ru-RU" sz="17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МВФ - оценка прозрачности в </a:t>
              </a:r>
              <a:r>
                <a:rPr kumimoji="0" lang="ru-RU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логово-бюджетной сфере </a:t>
              </a:r>
              <a:r>
                <a:rPr kumimoji="0" lang="ru-RU" sz="17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и представление рекомендаций по ее дальнейшему улучшению</a:t>
              </a:r>
            </a:p>
          </p:txBody>
        </p:sp>
        <p:grpSp>
          <p:nvGrpSpPr>
            <p:cNvPr id="9" name="Группа 27">
              <a:extLst>
                <a:ext uri="{FF2B5EF4-FFF2-40B4-BE49-F238E27FC236}">
                  <a16:creationId xmlns:a16="http://schemas.microsoft.com/office/drawing/2014/main" id="{C83CCA69-2F66-4666-A51C-21B7D2A3E087}"/>
                </a:ext>
              </a:extLst>
            </p:cNvPr>
            <p:cNvGrpSpPr/>
            <p:nvPr/>
          </p:nvGrpSpPr>
          <p:grpSpPr>
            <a:xfrm>
              <a:off x="483249" y="741531"/>
              <a:ext cx="1033681" cy="754126"/>
              <a:chOff x="735295" y="1484209"/>
              <a:chExt cx="1033681" cy="754126"/>
            </a:xfrm>
            <a:grpFill/>
          </p:grpSpPr>
          <p:sp>
            <p:nvSpPr>
              <p:cNvPr id="10" name="Arrow: Pentagon 33">
                <a:extLst>
                  <a:ext uri="{FF2B5EF4-FFF2-40B4-BE49-F238E27FC236}">
                    <a16:creationId xmlns:a16="http://schemas.microsoft.com/office/drawing/2014/main" id="{8FFB63C1-0DBF-431F-838A-60603B359826}"/>
                  </a:ext>
                </a:extLst>
              </p:cNvPr>
              <p:cNvSpPr/>
              <p:nvPr/>
            </p:nvSpPr>
            <p:spPr bwMode="auto">
              <a:xfrm rot="5400000">
                <a:off x="860481" y="1489002"/>
                <a:ext cx="720252" cy="778414"/>
              </a:xfrm>
              <a:prstGeom prst="homePlate">
                <a:avLst>
                  <a:gd name="adj" fmla="val 24304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  <a:scene3d>
                <a:camera prst="orthographicFront"/>
                <a:lightRig rig="threePt" dir="t"/>
              </a:scene3d>
              <a:sp3d extrusionH="76200">
                <a:extrusionClr>
                  <a:schemeClr val="accent3">
                    <a:lumMod val="20000"/>
                    <a:lumOff val="80000"/>
                  </a:schemeClr>
                </a:extrusionClr>
                <a:contourClr>
                  <a:schemeClr val="accent3">
                    <a:lumMod val="20000"/>
                    <a:lumOff val="80000"/>
                  </a:schemeClr>
                </a:contourClr>
              </a:sp3d>
            </p:spPr>
            <p:txBody>
              <a:bodyPr anchor="ctr"/>
              <a:lstStyle/>
              <a:p>
                <a:pPr marL="0" marR="0" lvl="0" indent="0" algn="ctr" defTabSz="101598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1" name="object 33">
                <a:extLst>
                  <a:ext uri="{FF2B5EF4-FFF2-40B4-BE49-F238E27FC236}">
                    <a16:creationId xmlns:a16="http://schemas.microsoft.com/office/drawing/2014/main" id="{FB599573-05B1-42D4-B25C-3429E02B6F1A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735295" y="1484209"/>
                <a:ext cx="1033681" cy="571715"/>
              </a:xfrm>
              <a:prstGeom prst="rect">
                <a:avLst/>
              </a:prstGeom>
              <a:grpFill/>
              <a:effectLst>
                <a:glow>
                  <a:sysClr val="window" lastClr="FFFFFF">
                    <a:lumMod val="95000"/>
                  </a:sysClr>
                </a:glow>
              </a:effectLst>
              <a:scene3d>
                <a:camera prst="orthographicFront"/>
                <a:lightRig rig="threePt" dir="t"/>
              </a:scene3d>
              <a:sp3d extrusionH="76200">
                <a:extrusionClr>
                  <a:schemeClr val="accent3">
                    <a:lumMod val="20000"/>
                    <a:lumOff val="80000"/>
                  </a:schemeClr>
                </a:extrusionClr>
                <a:contourClr>
                  <a:schemeClr val="accent3">
                    <a:lumMod val="20000"/>
                    <a:lumOff val="80000"/>
                  </a:schemeClr>
                </a:contourClr>
              </a:sp3d>
            </p:spPr>
          </p:pic>
        </p:grpSp>
      </p:grpSp>
      <p:sp>
        <p:nvSpPr>
          <p:cNvPr id="12" name="Прямоугольник 11"/>
          <p:cNvSpPr/>
          <p:nvPr/>
        </p:nvSpPr>
        <p:spPr>
          <a:xfrm>
            <a:off x="815853" y="1392622"/>
            <a:ext cx="738038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Четыре основных компонента Кодекса прозрачности </a:t>
            </a:r>
            <a:br>
              <a:rPr lang="ru-RU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</a:br>
            <a:r>
              <a:rPr lang="ru-RU" sz="1600" b="1" kern="12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Tahoma" panose="020B0604030504040204" pitchFamily="34" charset="0"/>
              </a:rPr>
              <a:t>в бюджетной-налоговой сфере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964186"/>
              </p:ext>
            </p:extLst>
          </p:nvPr>
        </p:nvGraphicFramePr>
        <p:xfrm>
          <a:off x="147099" y="2033881"/>
          <a:ext cx="8849801" cy="2763866"/>
        </p:xfrm>
        <a:graphic>
          <a:graphicData uri="http://schemas.openxmlformats.org/drawingml/2006/table">
            <a:tbl>
              <a:tblPr/>
              <a:tblGrid>
                <a:gridCol w="1578887">
                  <a:extLst>
                    <a:ext uri="{9D8B030D-6E8A-4147-A177-3AD203B41FA5}">
                      <a16:colId xmlns:a16="http://schemas.microsoft.com/office/drawing/2014/main" val="1559163446"/>
                    </a:ext>
                  </a:extLst>
                </a:gridCol>
                <a:gridCol w="2437558">
                  <a:extLst>
                    <a:ext uri="{9D8B030D-6E8A-4147-A177-3AD203B41FA5}">
                      <a16:colId xmlns:a16="http://schemas.microsoft.com/office/drawing/2014/main" val="4109801751"/>
                    </a:ext>
                  </a:extLst>
                </a:gridCol>
                <a:gridCol w="2142096">
                  <a:extLst>
                    <a:ext uri="{9D8B030D-6E8A-4147-A177-3AD203B41FA5}">
                      <a16:colId xmlns:a16="http://schemas.microsoft.com/office/drawing/2014/main" val="1175261093"/>
                    </a:ext>
                  </a:extLst>
                </a:gridCol>
                <a:gridCol w="2691260">
                  <a:extLst>
                    <a:ext uri="{9D8B030D-6E8A-4147-A177-3AD203B41FA5}">
                      <a16:colId xmlns:a16="http://schemas.microsoft.com/office/drawing/2014/main" val="2865468801"/>
                    </a:ext>
                  </a:extLst>
                </a:gridCol>
              </a:tblGrid>
              <a:tr h="546179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PMingLiU" panose="02020500000000000000" pitchFamily="18" charset="-120"/>
                          <a:cs typeface="Arial" panose="020B0604020202020204" pitchFamily="34" charset="0"/>
                        </a:rPr>
                        <a:t>I. БЮДЖЕТНАЯ ОТЧЕТНОСТЬ</a:t>
                      </a:r>
                    </a:p>
                    <a:p>
                      <a:pPr algn="ctr" fontAlgn="t"/>
                      <a:endParaRPr lang="ru-RU" sz="1100" b="1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PMingLiU" panose="02020500000000000000" pitchFamily="18" charset="-120"/>
                          <a:cs typeface="Arial" panose="020B0604020202020204" pitchFamily="34" charset="0"/>
                        </a:rPr>
                        <a:t>II. НАЛОГОВО-БЮДЖЕТНЫЕ ПРОГНОЗЫ И СОСТАВЛЕНИЕ БЮДЖЕТА </a:t>
                      </a:r>
                    </a:p>
                    <a:p>
                      <a:pPr algn="ctr" fontAlgn="t"/>
                      <a:endParaRPr lang="ru-RU" sz="1100" b="1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PMingLiU" panose="02020500000000000000" pitchFamily="18" charset="-120"/>
                          <a:cs typeface="Arial" panose="020B0604020202020204" pitchFamily="34" charset="0"/>
                        </a:rPr>
                        <a:t>III. АНАЛИЗ БЮДЖЕТНЫХ РИСКОВ И УПРАВЛЕНИЕ ИМИ </a:t>
                      </a:r>
                    </a:p>
                    <a:p>
                      <a:pPr algn="ctr" fontAlgn="t"/>
                      <a:endParaRPr lang="ru-RU" sz="1100" b="1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PMingLiU" panose="02020500000000000000" pitchFamily="18" charset="-120"/>
                          <a:cs typeface="Arial" panose="020B0604020202020204" pitchFamily="34" charset="0"/>
                        </a:rPr>
                        <a:t>IV. УПРАВЛЕНИЕ ПОСТУПЛЕНИЯМИ ОТ ПРИРОДНЫХ РЕСУРСОВ </a:t>
                      </a:r>
                      <a:endParaRPr lang="ru-RU" sz="1100" b="1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PMingLiU" panose="02020500000000000000" pitchFamily="18" charset="-12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8007747"/>
                  </a:ext>
                </a:extLst>
              </a:tr>
              <a:tr h="291453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t"/>
                      <a:r>
                        <a:rPr lang="ru-RU" sz="105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хват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лексность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ализ</a:t>
                      </a:r>
                      <a:r>
                        <a:rPr lang="ru-RU" sz="1050" b="1" u="none" strike="noStrike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иска и раскрытие информации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ва собственности на недра и права недропользования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595647"/>
                  </a:ext>
                </a:extLst>
              </a:tr>
              <a:tr h="51728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t"/>
                      <a:endParaRPr lang="ru-RU" sz="1050" b="1" u="none" strike="noStrike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t"/>
                      <a:r>
                        <a:rPr lang="ru-RU" sz="105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ичность и своевременность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орядоченность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билизация поступлений от недропользования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283801"/>
                  </a:ext>
                </a:extLst>
              </a:tr>
              <a:tr h="66142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t"/>
                      <a:endParaRPr lang="ru-RU" sz="1050" b="1" u="none" strike="noStrike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t"/>
                      <a:r>
                        <a:rPr lang="ru-RU" sz="105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чество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иентация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р политики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равления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исками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 panose="02020500000000000000" pitchFamily="18" charset="-120"/>
                          <a:cs typeface="Arial" panose="020B0604020202020204" pitchFamily="34" charset="0"/>
                        </a:rPr>
                        <a:t>Использование поступлений от природных ресурсов</a:t>
                      </a:r>
                      <a:endParaRPr lang="ru-RU" sz="105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ea typeface="PMingLiU" panose="02020500000000000000" pitchFamily="18" charset="-12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5036523"/>
                  </a:ext>
                </a:extLst>
              </a:tr>
              <a:tr h="575508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t"/>
                      <a:endParaRPr lang="ru-RU" sz="1050" b="1" u="none" strike="noStrike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t"/>
                      <a:r>
                        <a:rPr lang="ru-RU" sz="1050" b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ивность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верие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ординация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логово-бюджетной политики</a:t>
                      </a:r>
                      <a:endParaRPr lang="ru-RU" sz="105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 panose="02020500000000000000" pitchFamily="18" charset="-120"/>
                          <a:cs typeface="Arial" panose="020B0604020202020204" pitchFamily="34" charset="0"/>
                        </a:rPr>
                        <a:t>Раскрытие информации о деятельности в области </a:t>
                      </a:r>
                      <a:r>
                        <a:rPr lang="ru-RU" sz="105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PMingLiU" panose="02020500000000000000" pitchFamily="18" charset="-120"/>
                          <a:cs typeface="Arial" panose="020B0604020202020204" pitchFamily="34" charset="0"/>
                        </a:rPr>
                        <a:t>недропользования</a:t>
                      </a:r>
                      <a:endParaRPr lang="ru-RU" sz="105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  <a:ea typeface="PMingLiU" panose="02020500000000000000" pitchFamily="18" charset="-12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8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415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6842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135173" y="0"/>
            <a:ext cx="4767358" cy="400059"/>
          </a:xfrm>
          <a:prstGeom prst="rect">
            <a:avLst/>
          </a:prstGeom>
        </p:spPr>
        <p:txBody>
          <a:bodyPr wrap="none" lIns="91390" tIns="45695" rIns="91390" bIns="45695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дачи нового Бюджетного кодекса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135172" y="615845"/>
            <a:ext cx="8889557" cy="4130566"/>
            <a:chOff x="368490" y="633180"/>
            <a:chExt cx="8328583" cy="3690230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438130" y="633180"/>
              <a:ext cx="8189300" cy="805489"/>
            </a:xfrm>
            <a:prstGeom prst="rect">
              <a:avLst/>
            </a:prstGeom>
          </p:spPr>
          <p:txBody>
            <a:bodyPr wrap="square" lIns="91261" tIns="45630" rIns="91261" bIns="45630">
              <a:spAutoFit/>
            </a:bodyPr>
            <a:lstStyle/>
            <a:p>
              <a:pPr marL="0" marR="0" lvl="0" indent="0" algn="just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sym typeface="Arial"/>
                </a:rPr>
                <a:t>«</a:t>
              </a:r>
              <a:r>
                <a:rPr kumimoji="0" lang="ru-RU" sz="1400" b="1" i="0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sym typeface="Arial"/>
                </a:rPr>
                <a:t>Основа бюджетно-налоговой политики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sym typeface="Arial"/>
                </a:rPr>
                <a:t>должна обеспечивать макроэкономическую и бюджетную стабильность в краткосрочном периоде, способствовать достижению устойчивости бюджета в среднесрочном периоде и соответствовать долгосрочным целям Правительства в области развития»</a:t>
              </a:r>
            </a:p>
            <a:p>
              <a:pPr marL="0" marR="0" lvl="0" indent="0" algn="r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50000"/>
                    </a:scheme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  <a:sym typeface="Arial"/>
                </a:rPr>
                <a:t>Из Концепции управления госфинансами до 2030 года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368490" y="1890080"/>
              <a:ext cx="8328583" cy="2433330"/>
            </a:xfrm>
            <a:prstGeom prst="rect">
              <a:avLst/>
            </a:prstGeom>
          </p:spPr>
          <p:txBody>
            <a:bodyPr wrap="square" lIns="91261" tIns="45630" rIns="91261" bIns="45630">
              <a:spAutoFit/>
            </a:bodyPr>
            <a:lstStyle/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Создание</a:t>
              </a:r>
              <a:r>
                <a:rPr kumimoji="0" lang="ru-RU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 прочного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фундамента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налогово-бюджетной политики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Мобилизация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ненефтяных доходов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за счет обеспечения подотчетности налоговой базы </a:t>
              </a: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/>
              </a:r>
              <a:b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</a:b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и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согласованности с новым Налоговым кодексом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Повышение эффективности планирования и использования бюджетных средств за счет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элементов блочного бюджета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и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инструментов 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управления результатами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Обеспечен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подотчетности и транспарентности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участников бюджетного процесса и в целом Правительства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Обеспечен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согласованности с проводимыми реформами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: </a:t>
              </a:r>
            </a:p>
            <a:p>
              <a:pPr marL="730441" marR="0" lvl="1" indent="-285547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itchFamily="34" charset="0"/>
                <a:buChar char="•"/>
                <a:tabLst>
                  <a:tab pos="149876" algn="l"/>
                </a:tabLst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Совершенствование системы государственного планирования</a:t>
              </a:r>
            </a:p>
            <a:p>
              <a:pPr marL="730441" marR="0" lvl="1" indent="-285547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itchFamily="34" charset="0"/>
                <a:buChar char="•"/>
                <a:tabLst>
                  <a:tab pos="149876" algn="l"/>
                </a:tabLst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Административная реформа по децентрализации государственного управления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67158" y="1479350"/>
              <a:ext cx="1047467" cy="313397"/>
            </a:xfrm>
            <a:prstGeom prst="rect">
              <a:avLst/>
            </a:prstGeom>
            <a:noFill/>
          </p:spPr>
          <p:txBody>
            <a:bodyPr wrap="square" lIns="0" tIns="36504" rIns="0" bIns="0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Задачи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209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343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54017332-EFEA-43E6-AC8B-60051316F986}"/>
              </a:ext>
            </a:extLst>
          </p:cNvPr>
          <p:cNvCxnSpPr>
            <a:cxnSpLocks/>
          </p:cNvCxnSpPr>
          <p:nvPr/>
        </p:nvCxnSpPr>
        <p:spPr>
          <a:xfrm>
            <a:off x="4122760" y="507606"/>
            <a:ext cx="17798" cy="453007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0" y="-2364"/>
            <a:ext cx="4270767" cy="338554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marL="0" marR="0" lvl="0" indent="0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/>
              </a:rPr>
              <a:t>СТРУКТУРА нового Бюджетного кодекс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140558" y="-21577"/>
            <a:ext cx="48252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021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  <a:sym typeface="Arial"/>
              </a:rPr>
              <a:t>Для облегчения понимания пользователю разделы и главы приведены </a:t>
            </a:r>
            <a:br>
              <a:rPr kumimoji="0" lang="ru-RU" sz="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  <a:sym typeface="Arial"/>
              </a:rPr>
            </a:br>
            <a:r>
              <a:rPr kumimoji="0" lang="ru-RU" sz="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  <a:sym typeface="Arial"/>
              </a:rPr>
              <a:t>к единому формату изложения. Каждый раздел начинается с общих основополагающих положений. Далее в статьях раскрываются </a:t>
            </a:r>
            <a:r>
              <a:rPr kumimoji="0" lang="ru-RU" sz="800" b="1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  <a:sym typeface="Arial"/>
              </a:rPr>
              <a:t>детали</a:t>
            </a:r>
            <a:endParaRPr kumimoji="0" lang="ru-RU" sz="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53847" y="638850"/>
            <a:ext cx="4711918" cy="4116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88" marR="0" lvl="0" indent="-90488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. ОСНОВНЫЕ ПОЛОЖЕНИЯ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90488" marR="0" lvl="0" indent="-90488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. ОСНОВЫ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ИРОВАНИЯ   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истема государственного планирования 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дотчетность и транспарентность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800" b="1" i="1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 </a:t>
            </a:r>
            <a:r>
              <a:rPr kumimoji="0" lang="ru-RU" sz="800" b="0" i="1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убликация и обсуждение документов, ответственность участников бюджетного процесса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правление результатами</a:t>
            </a:r>
          </a:p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3. УПРАВЛЕНИЕ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ГОСФИНАНСАМИ</a:t>
            </a:r>
          </a:p>
          <a:p>
            <a:pPr marL="577934" marR="0" lvl="1" indent="-128442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сновы управления госфинансами</a:t>
            </a:r>
          </a:p>
          <a:p>
            <a:pPr marL="577934" marR="0" lvl="1" indent="-128442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циональный фонд </a:t>
            </a:r>
          </a:p>
          <a:p>
            <a:pPr marL="577934" marR="0" lvl="1" indent="-128442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небюджетные фонды</a:t>
            </a:r>
          </a:p>
          <a:p>
            <a:pPr marL="577934" marR="0" lvl="1" indent="-128442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2DB75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вазигосударственный сектор</a:t>
            </a:r>
          </a:p>
          <a:p>
            <a:pPr marL="90488" marR="0" lvl="0" indent="-90488" algn="l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. РАЗРАБОТКА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РАССМОТРЕНИЕ,           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ТВЕРЖДЕНИЕ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УТОЧНЕНИЕ,       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ОРРЕКТИРОВКА, СЕКВЕСТР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А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бщие положения о планировании бюджета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жбюджетные отношения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цесс разработки бюджета</a:t>
            </a:r>
          </a:p>
          <a:p>
            <a:pPr marL="577934" marR="0" lvl="0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сновные положения процесса рассмотрения и утверждения проекта бюджета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точнение бюджета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еквестр и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орректировка бюджета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азработка, введение или прекращение действия чрезвычайного государственного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а</a:t>
            </a:r>
          </a:p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5.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ИСПОЛНЕНИЕ БЮДЖЕТА 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бщие положения об исполнении бюджета</a:t>
            </a:r>
          </a:p>
          <a:p>
            <a:pPr marL="577934" marR="0" lvl="1" indent="-128442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00977" algn="l"/>
              </a:tabLst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азначейское исполнение бюджета</a:t>
            </a:r>
          </a:p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6. БЮДЖЕТНЫЙ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ЧЕТ И ОТЧЕТНОСТЬ         </a:t>
            </a:r>
          </a:p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. СИСТЕМА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УХГАЛТЕРСКОГО УЧЕТА И ФИНАНСОВОЙ ОТЧЕТНОСТИ</a:t>
            </a:r>
          </a:p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8. ГОСУДАРСТВЕННЫЕ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И ГАРАНТИРОВАННЫЕ ГОСУДАРСТВОМ ЗАИМСТВОВАНИЕ И ДОЛГ, ПОРУЧИТЕЛЬСТВО ГОСУДАРСТВА, ГОСУДАРСТВЕННЫЕ ИНВЕСТИЦИОННЫЕ ПРОЕКТЫ БЮДЖЕТНОЕ КРЕДИТОВАНИЕ,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ГРАНТЫ</a:t>
            </a:r>
          </a:p>
          <a:p>
            <a:pPr marL="0" marR="0" lvl="0" indent="0" algn="just" defTabSz="899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None/>
              <a:tabLst>
                <a:tab pos="200977" algn="l"/>
              </a:tabLst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9. ЗАКЛЮЧИТЕЛЬНЫЕ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И ПЕРЕХОДНЫЕ ПОЛОЖЕНИЯ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34290" y="434335"/>
            <a:ext cx="20543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АЗДЕЛЫ, ГЛАВЫ</a:t>
            </a:r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/>
          </p:nvPr>
        </p:nvGraphicFramePr>
        <p:xfrm>
          <a:off x="137873" y="896336"/>
          <a:ext cx="3938289" cy="17046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977584" y="1135562"/>
            <a:ext cx="810672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Pct val="70000"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37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37873" y="559237"/>
            <a:ext cx="2063632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ED7D31"/>
              </a:buClr>
              <a:buSzPct val="70000"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птимизация содержания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898313" y="559237"/>
            <a:ext cx="10901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0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оект на 27.02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1286" y="2840197"/>
            <a:ext cx="3927137" cy="430705"/>
          </a:xfrm>
          <a:prstGeom prst="rect">
            <a:avLst/>
          </a:prstGeom>
        </p:spPr>
        <p:txBody>
          <a:bodyPr wrap="square" lIns="91261" tIns="45630" rIns="91261" bIns="45630">
            <a:spAutoFit/>
          </a:bodyPr>
          <a:lstStyle/>
          <a:p>
            <a:pPr marL="0" marR="0" lvl="1" indent="0" algn="l" defTabSz="685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 typeface="Arial"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rPr>
              <a:t>Более гибкий, рамочный документ, определяющий основополагающие нормы бюджетирования за счет: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37874" y="3366415"/>
            <a:ext cx="3738847" cy="1397124"/>
          </a:xfrm>
          <a:prstGeom prst="rect">
            <a:avLst/>
          </a:prstGeom>
          <a:noFill/>
        </p:spPr>
        <p:txBody>
          <a:bodyPr wrap="square" lIns="91261" tIns="45630" rIns="91261" bIns="45630" rtlCol="0">
            <a:spAutoFit/>
          </a:bodyPr>
          <a:lstStyle/>
          <a:p>
            <a:pPr marL="356283" marR="0" lvl="0" indent="-356283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buClr>
                <a:srgbClr val="188CE5">
                  <a:lumMod val="50000"/>
                </a:srgbClr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труктурирования статей и глав</a:t>
            </a:r>
          </a:p>
          <a:p>
            <a:pPr marL="356283" marR="0" lvl="0" indent="-356283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buClr>
                <a:srgbClr val="188CE5">
                  <a:lumMod val="50000"/>
                </a:srgbClr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окращения содержания статей с переносом детализирующих норм в подзаконные НПА</a:t>
            </a:r>
          </a:p>
          <a:p>
            <a:pPr marL="356283" marR="0" lvl="0" indent="-356283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buClr>
                <a:srgbClr val="188CE5">
                  <a:lumMod val="50000"/>
                </a:srgbClr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систематизации понятий, терминов</a:t>
            </a:r>
          </a:p>
          <a:p>
            <a:pPr marL="356283" marR="0" lvl="0" indent="-356283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buClr>
                <a:srgbClr val="188CE5">
                  <a:lumMod val="50000"/>
                </a:srgbClr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птимизации понятийного аппарата и принципов с адаптацией их к системе госфинансов</a:t>
            </a:r>
          </a:p>
          <a:p>
            <a:pPr marL="356283" marR="0" lvl="0" indent="-356283" algn="l" defTabSz="68980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300"/>
              </a:spcAft>
              <a:buClr>
                <a:srgbClr val="188CE5">
                  <a:lumMod val="50000"/>
                </a:srgbClr>
              </a:buClr>
              <a:buSzPct val="7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пределения роли участников бюджетного процесса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62BD8D1C-CB74-87DE-A58E-2588E0F18DDC}"/>
              </a:ext>
            </a:extLst>
          </p:cNvPr>
          <p:cNvGrpSpPr/>
          <p:nvPr/>
        </p:nvGrpSpPr>
        <p:grpSpPr>
          <a:xfrm>
            <a:off x="4270767" y="4755362"/>
            <a:ext cx="4248359" cy="274145"/>
            <a:chOff x="4578208" y="4440132"/>
            <a:chExt cx="4214171" cy="407838"/>
          </a:xfrm>
        </p:grpSpPr>
        <p:sp>
          <p:nvSpPr>
            <p:cNvPr id="26" name="TextBox 25"/>
            <p:cNvSpPr txBox="1"/>
            <p:nvPr/>
          </p:nvSpPr>
          <p:spPr>
            <a:xfrm>
              <a:off x="5304097" y="4630514"/>
              <a:ext cx="3488282" cy="21062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l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lang="ru-RU" sz="800" kern="1200" dirty="0" smtClean="0">
                  <a:solidFill>
                    <a:srgbClr val="2E2E38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недрены </a:t>
              </a:r>
              <a:r>
                <a:rPr kumimoji="0" lang="ru-RU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овые 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дходы 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578208" y="4461742"/>
              <a:ext cx="653038" cy="180808"/>
            </a:xfrm>
            <a:prstGeom prst="rect">
              <a:avLst/>
            </a:prstGeom>
            <a:solidFill>
              <a:srgbClr val="77DB97">
                <a:lumMod val="50000"/>
              </a:srgbClr>
            </a:solidFill>
          </p:spPr>
          <p:txBody>
            <a:bodyPr wrap="square" lIns="0" tIns="36576" rIns="0" bIns="0" rtlCol="0">
              <a:spAutoFit/>
            </a:bodyPr>
            <a:lstStyle/>
            <a:p>
              <a:pPr marL="356283" marR="0" lvl="0" indent="-356283" algn="l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 pitchFamily="34" charset="0"/>
                <a:buChar char="►"/>
                <a:tabLst/>
                <a:defRPr/>
              </a:pPr>
              <a:endPara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304097" y="4440132"/>
              <a:ext cx="2061458" cy="18080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>
              <a:defPPr>
                <a:defRPr lang="ru-RU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800" b="1"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l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овые положения 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578208" y="4667162"/>
              <a:ext cx="653038" cy="180808"/>
            </a:xfrm>
            <a:prstGeom prst="rect">
              <a:avLst/>
            </a:prstGeom>
            <a:solidFill>
              <a:srgbClr val="41719C"/>
            </a:solidFill>
          </p:spPr>
          <p:txBody>
            <a:bodyPr wrap="square" lIns="0" tIns="36576" rIns="0" bIns="0" rtlCol="0">
              <a:spAutoFit/>
            </a:bodyPr>
            <a:lstStyle/>
            <a:p>
              <a:pPr marL="356283" marR="0" lvl="0" indent="-356283" algn="l" defTabSz="689804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 typeface="Arial" pitchFamily="34" charset="0"/>
                <a:buChar char="►"/>
                <a:tabLst/>
                <a:defRPr/>
              </a:pPr>
              <a:endPara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5597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14E7C25B-6731-A4F6-73E5-F6540DD68767}"/>
              </a:ext>
            </a:extLst>
          </p:cNvPr>
          <p:cNvCxnSpPr>
            <a:cxnSpLocks/>
          </p:cNvCxnSpPr>
          <p:nvPr/>
        </p:nvCxnSpPr>
        <p:spPr>
          <a:xfrm>
            <a:off x="0" y="394535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5FC22B1D-8DFF-3615-C9E9-CCBAFE950710}"/>
              </a:ext>
            </a:extLst>
          </p:cNvPr>
          <p:cNvSpPr txBox="1"/>
          <p:nvPr/>
        </p:nvSpPr>
        <p:spPr>
          <a:xfrm>
            <a:off x="0" y="24983"/>
            <a:ext cx="870467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00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ОДХОДЫ по разработке нового Бюджетного кодекса согласно п. 12 ОНП 2022г.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74613" y="582859"/>
            <a:ext cx="8760294" cy="3205456"/>
            <a:chOff x="74613" y="582859"/>
            <a:chExt cx="4619737" cy="320545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EF42558-A15D-F0C8-9C04-C92DA294016B}"/>
                </a:ext>
              </a:extLst>
            </p:cNvPr>
            <p:cNvSpPr txBox="1"/>
            <p:nvPr/>
          </p:nvSpPr>
          <p:spPr>
            <a:xfrm>
              <a:off x="74613" y="582859"/>
              <a:ext cx="456822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/>
                  <a:sym typeface="Arial"/>
                </a:rPr>
                <a:t>ПУНКТ 12 ОНП: </a:t>
              </a: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/>
                  <a:sym typeface="Arial"/>
                </a:rPr>
                <a:t>«…в </a:t>
              </a: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/>
                  <a:sym typeface="Arial"/>
                </a:rPr>
                <a:t>рамках нового Бюджетного кодекса необходимо </a:t>
              </a: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497D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/>
                  <a:sym typeface="Arial"/>
                </a:rPr>
                <a:t>обеспечить: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7C18FE-28A1-3887-FF29-FC481B1F8F8F}"/>
                </a:ext>
              </a:extLst>
            </p:cNvPr>
            <p:cNvSpPr txBox="1"/>
            <p:nvPr/>
          </p:nvSpPr>
          <p:spPr>
            <a:xfrm>
              <a:off x="74614" y="1156825"/>
              <a:ext cx="4619736" cy="263149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Внедрен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элементов блочного бюджета 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со значительным расширением полномочий и ответственности АБП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Кардинально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упрощение бюджетного процесса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Реформирование модели бюджетной политики путем перехода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от «управления бюджетом» к «управлению результатами»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Определен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предельных параметров бюджетной политики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Направление средств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целевого трансферта из Нацфонда 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исключительно на развит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критической инфраструктуры 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и реализацию проектов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общестранового значения </a:t>
              </a:r>
            </a:p>
            <a:p>
              <a:pPr marL="443370" marR="0" lvl="0" indent="-342569" algn="just" defTabSz="3863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AutoNum type="arabicPeriod"/>
                <a:tabLst>
                  <a:tab pos="149876" algn="l"/>
                </a:tabLst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Усилен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фискальной децентрализации </a:t>
              </a: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путем передачи из республиканского бюджета на уровень местного бюджета дополнительных видов налоговых поступлений и </a:t>
              </a:r>
              <a:r>
                <a:rPr kumimoji="0" lang="ru-RU" sz="14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расходов».</a:t>
              </a:r>
              <a:endPara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579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67DDBCB5-AEDB-67CD-268E-E93C742EDE61}"/>
              </a:ext>
            </a:extLst>
          </p:cNvPr>
          <p:cNvSpPr txBox="1"/>
          <p:nvPr/>
        </p:nvSpPr>
        <p:spPr bwMode="auto">
          <a:xfrm>
            <a:off x="1251584" y="2254655"/>
            <a:ext cx="6640833" cy="400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8" tIns="45694" rIns="91388" bIns="45694">
            <a:spAutoFit/>
          </a:bodyPr>
          <a:lstStyle/>
          <a:p>
            <a:pPr lvl="0" algn="ctr">
              <a:buClr>
                <a:schemeClr val="dk1"/>
              </a:buClr>
              <a:buSzPts val="1100"/>
            </a:pPr>
            <a:r>
              <a:rPr lang="ru-RU" sz="2000" b="1" kern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лагодарим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4232955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KZ">
      <a:majorFont>
        <a:latin typeface="Segoe UI Black"/>
        <a:ea typeface="ＭＳ Ｐゴシック"/>
        <a:cs typeface=""/>
      </a:majorFont>
      <a:minorFont>
        <a:latin typeface="Segoe UI 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aseform_MSW_4x3.potx" id="{C56514F7-67AD-450E-B572-0C50D0AF1509}" vid="{7CC19030-A8AE-402F-9023-FE9C893D7F2D}"/>
    </a:ext>
  </a:extLst>
</a:theme>
</file>

<file path=ppt/theme/theme4.xml><?xml version="1.0" encoding="utf-8"?>
<a:theme xmlns:a="http://schemas.openxmlformats.org/drawingml/2006/main" name="Standaardontwerp">
  <a:themeElements>
    <a:clrScheme name="Kleurenschema Groen">
      <a:dk1>
        <a:sysClr val="windowText" lastClr="000000"/>
      </a:dk1>
      <a:lt1>
        <a:sysClr val="window" lastClr="FFFFFF"/>
      </a:lt1>
      <a:dk2>
        <a:srgbClr val="F4BBD6"/>
      </a:dk2>
      <a:lt2>
        <a:srgbClr val="EEECE1"/>
      </a:lt2>
      <a:accent1>
        <a:srgbClr val="046F96"/>
      </a:accent1>
      <a:accent2>
        <a:srgbClr val="9ACCD4"/>
      </a:accent2>
      <a:accent3>
        <a:srgbClr val="ED8FBB"/>
      </a:accent3>
      <a:accent4>
        <a:srgbClr val="900079"/>
      </a:accent4>
      <a:accent5>
        <a:srgbClr val="47145C"/>
      </a:accent5>
      <a:accent6>
        <a:srgbClr val="0E4A10"/>
      </a:accent6>
      <a:hlink>
        <a:srgbClr val="0000FF"/>
      </a:hlink>
      <a:folHlink>
        <a:srgbClr val="800080"/>
      </a:folHlink>
    </a:clrScheme>
    <a:fontScheme name="Standaardontwerp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ardontwe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KZ">
      <a:majorFont>
        <a:latin typeface="Segoe UI Black"/>
        <a:ea typeface="ＭＳ Ｐゴシック"/>
        <a:cs typeface=""/>
      </a:majorFont>
      <a:minorFont>
        <a:latin typeface="Segoe UI 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aseform_MSW_4x3.potx" id="{C56514F7-67AD-450E-B572-0C50D0AF1509}" vid="{7CC19030-A8AE-402F-9023-FE9C893D7F2D}"/>
    </a:ext>
  </a:extLst>
</a:theme>
</file>

<file path=ppt/theme/theme6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556</TotalTime>
  <Words>3121</Words>
  <Application>Microsoft Office PowerPoint</Application>
  <PresentationFormat>Экран (16:9)</PresentationFormat>
  <Paragraphs>438</Paragraphs>
  <Slides>2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47" baseType="lpstr">
      <vt:lpstr>ＭＳ Ｐゴシック</vt:lpstr>
      <vt:lpstr>Barlow Condensed</vt:lpstr>
      <vt:lpstr>PMingLiU</vt:lpstr>
      <vt:lpstr>Calibri</vt:lpstr>
      <vt:lpstr>Segoe UI</vt:lpstr>
      <vt:lpstr>Wingdings</vt:lpstr>
      <vt:lpstr>Tahoma</vt:lpstr>
      <vt:lpstr>Lato Heavy</vt:lpstr>
      <vt:lpstr>Segoe UI Light</vt:lpstr>
      <vt:lpstr>Calibri Light</vt:lpstr>
      <vt:lpstr>Times New Roman</vt:lpstr>
      <vt:lpstr>Arial</vt:lpstr>
      <vt:lpstr>Verdana</vt:lpstr>
      <vt:lpstr>Segoe UI Black</vt:lpstr>
      <vt:lpstr>Office Theme</vt:lpstr>
      <vt:lpstr>Тема Office</vt:lpstr>
      <vt:lpstr>1_Firm Format - template_Blue</vt:lpstr>
      <vt:lpstr>Standaardontwerp</vt:lpstr>
      <vt:lpstr>2_Firm Format - template_Blue</vt:lpstr>
      <vt:lpstr>3_Тема Office</vt:lpstr>
      <vt:lpstr>7_Office Theme</vt:lpstr>
      <vt:lpstr>1_Тема Office</vt:lpstr>
      <vt:lpstr>6_Office Theme</vt:lpstr>
      <vt:lpstr>1_Office Theme</vt:lpstr>
      <vt:lpstr>think-cell Slide</vt:lpstr>
      <vt:lpstr>О вопросах бюджетной политики</vt:lpstr>
      <vt:lpstr>Постановка задачи для  Правительства по бюджетной политике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Ансар</dc:creator>
  <cp:lastModifiedBy>Алишер Сапиев</cp:lastModifiedBy>
  <cp:revision>1114</cp:revision>
  <cp:lastPrinted>2023-04-19T07:54:23Z</cp:lastPrinted>
  <dcterms:modified xsi:type="dcterms:W3CDTF">2023-04-26T08:43:01Z</dcterms:modified>
</cp:coreProperties>
</file>